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tadata" ContentType="application/binary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4"/>
  </p:notesMasterIdLst>
  <p:sldIdLst>
    <p:sldId id="256" r:id="rId2"/>
    <p:sldId id="257" r:id="rId3"/>
    <p:sldId id="258" r:id="rId4"/>
    <p:sldId id="295" r:id="rId5"/>
    <p:sldId id="262" r:id="rId6"/>
    <p:sldId id="263" r:id="rId7"/>
    <p:sldId id="286" r:id="rId8"/>
    <p:sldId id="265" r:id="rId9"/>
    <p:sldId id="266" r:id="rId10"/>
    <p:sldId id="267" r:id="rId11"/>
    <p:sldId id="272" r:id="rId12"/>
    <p:sldId id="294" r:id="rId13"/>
    <p:sldId id="274" r:id="rId14"/>
    <p:sldId id="273" r:id="rId15"/>
    <p:sldId id="297" r:id="rId16"/>
    <p:sldId id="298" r:id="rId17"/>
    <p:sldId id="299" r:id="rId18"/>
    <p:sldId id="300" r:id="rId19"/>
    <p:sldId id="277" r:id="rId20"/>
    <p:sldId id="278" r:id="rId21"/>
    <p:sldId id="279" r:id="rId22"/>
    <p:sldId id="280" r:id="rId23"/>
  </p:sldIdLst>
  <p:sldSz cx="12192000" cy="6858000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Franklin Gothic" panose="020B0604020202020204" charset="0"/>
      <p:regular r:id="rId29"/>
      <p:bold r:id="rId30"/>
      <p:italic r:id="rId31"/>
      <p:boldItalic r:id="rId32"/>
    </p:embeddedFont>
    <p:embeddedFont>
      <p:font typeface="Gill Sans" panose="020B0604020202020204" charset="0"/>
      <p:regular r:id="rId33"/>
      <p:bold r:id="rId34"/>
    </p:embeddedFont>
    <p:embeddedFont>
      <p:font typeface="Libre Franklin" pitchFamily="2" charset="0"/>
      <p:regular r:id="rId35"/>
      <p:bold r:id="rId36"/>
      <p:italic r:id="rId37"/>
      <p:boldItalic r:id="rId38"/>
    </p:embeddedFont>
    <p:embeddedFont>
      <p:font typeface="Noto Sans" panose="020B0502040504020204" pitchFamily="3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8" roundtripDataSignature="AMtx7milhZJ1gkVWxG7Ah64tLsnzoHjrb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 varScale="1">
        <p:scale>
          <a:sx n="89" d="100"/>
          <a:sy n="89" d="100"/>
        </p:scale>
        <p:origin x="43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2" Type="http://schemas.openxmlformats.org/officeDocument/2006/relationships/slide" Target="slides/slide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font" Target="fonts/font1.fntdata"/><Relationship Id="rId26" Type="http://schemas.openxmlformats.org/officeDocument/2006/relationships/font" Target="fonts/font2.fntdata"/><Relationship Id="rId27" Type="http://schemas.openxmlformats.org/officeDocument/2006/relationships/font" Target="fonts/font3.fntdata"/><Relationship Id="rId28" Type="http://schemas.openxmlformats.org/officeDocument/2006/relationships/font" Target="fonts/font4.fntdata"/><Relationship Id="rId29" Type="http://schemas.openxmlformats.org/officeDocument/2006/relationships/font" Target="fonts/font5.fntdata"/><Relationship Id="rId3" Type="http://schemas.openxmlformats.org/officeDocument/2006/relationships/slide" Target="slides/slide2.xml"/><Relationship Id="rId30" Type="http://schemas.openxmlformats.org/officeDocument/2006/relationships/font" Target="fonts/font6.fntdata"/><Relationship Id="rId31" Type="http://schemas.openxmlformats.org/officeDocument/2006/relationships/font" Target="fonts/font7.fntdata"/><Relationship Id="rId32" Type="http://schemas.openxmlformats.org/officeDocument/2006/relationships/font" Target="fonts/font8.fntdata"/><Relationship Id="rId33" Type="http://schemas.openxmlformats.org/officeDocument/2006/relationships/font" Target="fonts/font9.fntdata"/><Relationship Id="rId34" Type="http://schemas.openxmlformats.org/officeDocument/2006/relationships/font" Target="fonts/font10.fntdata"/><Relationship Id="rId35" Type="http://schemas.openxmlformats.org/officeDocument/2006/relationships/font" Target="fonts/font11.fntdata"/><Relationship Id="rId36" Type="http://schemas.openxmlformats.org/officeDocument/2006/relationships/font" Target="fonts/font12.fntdata"/><Relationship Id="rId37" Type="http://schemas.openxmlformats.org/officeDocument/2006/relationships/font" Target="fonts/font13.fntdata"/><Relationship Id="rId38" Type="http://schemas.openxmlformats.org/officeDocument/2006/relationships/font" Target="fonts/font14.fntdata"/><Relationship Id="rId39" Type="http://schemas.openxmlformats.org/officeDocument/2006/relationships/font" Target="fonts/font15.fntdata"/><Relationship Id="rId4" Type="http://schemas.openxmlformats.org/officeDocument/2006/relationships/slide" Target="slides/slide3.xml"/><Relationship Id="rId40" Type="http://schemas.openxmlformats.org/officeDocument/2006/relationships/font" Target="fonts/font16.fntdata"/><Relationship Id="rId41" Type="http://schemas.openxmlformats.org/officeDocument/2006/relationships/font" Target="fonts/font17.fntdata"/><Relationship Id="rId42" Type="http://schemas.openxmlformats.org/officeDocument/2006/relationships/font" Target="fonts/font18.fntdata"/><Relationship Id="rId43" Type="http://schemas.openxmlformats.org/officeDocument/2006/relationships/tags" Target="tags/tag1.xml"/><Relationship Id="rId48" Type="http://customschemas.google.com/relationships/presentationmetadata" Target="metadata"/><Relationship Id="rId49" Type="http://schemas.openxmlformats.org/officeDocument/2006/relationships/presProps" Target="presProps.xml"/><Relationship Id="rId5" Type="http://schemas.openxmlformats.org/officeDocument/2006/relationships/slide" Target="slides/slide4.xml"/><Relationship Id="rId50" Type="http://schemas.openxmlformats.org/officeDocument/2006/relationships/viewProps" Target="viewProps.xml"/><Relationship Id="rId51" Type="http://schemas.openxmlformats.org/officeDocument/2006/relationships/theme" Target="theme/theme1.xml"/><Relationship Id="rId52" Type="http://schemas.openxmlformats.org/officeDocument/2006/relationships/tableStyles" Target="tableStyles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17" name="Google Shape;31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Google Shape;721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22" name="Google Shape;722;p12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34" name="Google Shape;1134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" name="Google Shape;751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52" name="Google Shape;752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886297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220562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666316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247297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3" name="Google Shape;1563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64" name="Google Shape;15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23" name="Google Shape;32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2" name="Google Shape;1612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13" name="Google Shape;161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8" name="Google Shape;1678;g2017e917d32_0_20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79" name="Google Shape;1679;g2017e917d32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" name="Google Shape;169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0" name="Google Shape;1700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01" name="Google Shape;1701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2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8" name="Google Shape;34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71" name="Google Shape;37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12769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0" name="Google Shape;550;p8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Google Shape;578;p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9" name="Google Shape;579;p44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27" name="Google Shape;627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2688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" name="Google Shape;65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0" name="Google Shape;660;p11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g121061837f4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2" name="Google Shape;692;g121061837f4_0_1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00" cy="25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hyperlink" Target="https://infomineo.com/" TargetMode="External"/><Relationship Id="rId3" Type="http://schemas.openxmlformats.org/officeDocument/2006/relationships/image" Target="../media/image4.png"/><Relationship Id="rId4" Type="http://schemas.openxmlformats.org/officeDocument/2006/relationships/hyperlink" Target="https://infomineo.com/insights/blog/" TargetMode="External"/><Relationship Id="rId5" Type="http://schemas.openxmlformats.org/officeDocument/2006/relationships/image" Target="../media/image5.png"/><Relationship Id="rId6" Type="http://schemas.openxmlformats.org/officeDocument/2006/relationships/hyperlink" Target="https://www.linkedin.com/company-beta/2416143/admin/updates/" TargetMode="External"/><Relationship Id="rId7" Type="http://schemas.openxmlformats.org/officeDocument/2006/relationships/image" Target="../media/image6.png"/><Relationship Id="rId8" Type="http://schemas.openxmlformats.org/officeDocument/2006/relationships/hyperlink" Target="https://www.facebook.com/Infomineo/" TargetMode="External"/><Relationship Id="rId9" Type="http://schemas.openxmlformats.org/officeDocument/2006/relationships/image" Target="../media/image7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 type="title">
  <p:cSld name="TITLE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oogle Shape;32;p15"/>
          <p:cNvPicPr preferRelativeResize="0"/>
          <p:nvPr/>
        </p:nvPicPr>
        <p:blipFill rotWithShape="1">
          <a:blip r:embed="rId2">
            <a:alphaModFix/>
          </a:blip>
          <a:srcRect t="15097" r="6942" b="15095"/>
          <a:stretch/>
        </p:blipFill>
        <p:spPr>
          <a:xfrm>
            <a:off x="550861" y="549274"/>
            <a:ext cx="11090275" cy="5759451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" name="Google Shape;33;p15"/>
          <p:cNvSpPr/>
          <p:nvPr/>
        </p:nvSpPr>
        <p:spPr>
          <a:xfrm>
            <a:off x="1083553" y="1080000"/>
            <a:ext cx="5816186" cy="577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1960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196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" name="Google Shape;34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31950" y="1603956"/>
            <a:ext cx="2497452" cy="574280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35;p15"/>
          <p:cNvSpPr txBox="1">
            <a:spLocks noGrp="1"/>
          </p:cNvSpPr>
          <p:nvPr>
            <p:ph type="dt" idx="10"/>
          </p:nvPr>
        </p:nvSpPr>
        <p:spPr>
          <a:xfrm>
            <a:off x="1631950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Google Shape;36;p15"/>
          <p:cNvSpPr txBox="1"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5"/>
          <p:cNvSpPr txBox="1"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">
  <p:cSld name="4 Column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09" name="Google Shape;109;p25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25594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25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25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25548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25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25"/>
          <p:cNvSpPr txBox="1">
            <a:spLocks noGrp="1"/>
          </p:cNvSpPr>
          <p:nvPr>
            <p:ph type="body" idx="5"/>
          </p:nvPr>
        </p:nvSpPr>
        <p:spPr>
          <a:xfrm>
            <a:off x="3395664" y="2175803"/>
            <a:ext cx="25594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p25"/>
          <p:cNvSpPr txBox="1">
            <a:spLocks noGrp="1"/>
          </p:cNvSpPr>
          <p:nvPr>
            <p:ph type="body" idx="6"/>
          </p:nvPr>
        </p:nvSpPr>
        <p:spPr>
          <a:xfrm>
            <a:off x="33956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25"/>
          <p:cNvSpPr txBox="1">
            <a:spLocks noGrp="1"/>
          </p:cNvSpPr>
          <p:nvPr>
            <p:ph type="body" idx="7"/>
          </p:nvPr>
        </p:nvSpPr>
        <p:spPr>
          <a:xfrm>
            <a:off x="9086263" y="2175803"/>
            <a:ext cx="25548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25"/>
          <p:cNvSpPr txBox="1">
            <a:spLocks noGrp="1"/>
          </p:cNvSpPr>
          <p:nvPr>
            <p:ph type="body" idx="8"/>
          </p:nvPr>
        </p:nvSpPr>
        <p:spPr>
          <a:xfrm>
            <a:off x="9086263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2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2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21" name="Google Shape;121;p26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26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26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26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6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26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" name="Google Shape;127;p26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26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26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26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2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Grey on Left">
  <p:cSld name="1/3 Grey on Left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7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" name="Google Shape;134;p27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2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36" name="Google Shape;136;p2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27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">
  <p:cSld name="1/3 Blue on Left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28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" name="Google Shape;140;p28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42" name="Google Shape;142;p2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" name="Google Shape;143;p28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29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" name="Google Shape;146;p29"/>
          <p:cNvSpPr txBox="1">
            <a:spLocks noGrp="1"/>
          </p:cNvSpPr>
          <p:nvPr>
            <p:ph type="title"/>
          </p:nvPr>
        </p:nvSpPr>
        <p:spPr>
          <a:xfrm>
            <a:off x="549232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2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48" name="Google Shape;148;p29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29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3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52;p3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53" name="Google Shape;153;p30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4" name="Google Shape;154;p30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5" name="Google Shape;155;p3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3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3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3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3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3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3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3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3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3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165;p3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166;p3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167;p3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" name="Google Shape;168;p30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p3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70" name="Google Shape;170;p3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31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" name="Google Shape;173;p31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31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75" name="Google Shape;175;p31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6" name="Google Shape;176;p3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77" name="Google Shape;177;p3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3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3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3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3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3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3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3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3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3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3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3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3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0" name="Google Shape;190;p3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1" name="Google Shape;191;p31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32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" name="Google Shape;194;p32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32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96" name="Google Shape;196;p32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97" name="Google Shape;197;p32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98" name="Google Shape;198;p32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32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32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32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32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03;p32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04;p32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05;p32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06;p32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07;p32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08;p32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09;p32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32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32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3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" name="Google Shape;214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33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196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33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>
                  <a:alpha val="8196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" name="Google Shape;217;p33"/>
          <p:cNvSpPr txBox="1">
            <a:spLocks noGrp="1"/>
          </p:cNvSpPr>
          <p:nvPr>
            <p:ph type="title"/>
          </p:nvPr>
        </p:nvSpPr>
        <p:spPr>
          <a:xfrm>
            <a:off x="737591" y="4108436"/>
            <a:ext cx="8494899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196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8" name="Google Shape;218;p33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9" name="Google Shape;219;p3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3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3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3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3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3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3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3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3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8;p3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9;p3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3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3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2" name="Google Shape;232;p33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p3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" name="Google Shape;235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6" name="Google Shape;236;p3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1960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" name="Google Shape;237;p34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196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8" name="Google Shape;238;p3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9" name="Google Shape;239;p3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3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3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3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3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3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3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3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47;p3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48;p3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49;p3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50;p3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51;p3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252;p3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3" name="Google Shape;253;p3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254" name="Google Shape;254;p34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6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16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1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42" name="Google Shape;42;p16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35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57" name="Google Shape;257;p35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58" name="Google Shape;258;p35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59" name="Google Shape;259;p35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0" name="Google Shape;260;p35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1" name="Google Shape;261;p35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2" name="Google Shape;262;p35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3" name="Google Shape;263;p35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4" name="Google Shape;264;p35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5" name="Google Shape;265;p35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6" name="Google Shape;266;p35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7" name="Google Shape;267;p35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8" name="Google Shape;268;p35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9" name="Google Shape;269;p35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0" name="Google Shape;270;p35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1" name="Google Shape;271;p35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2" name="Google Shape;272;p35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3" name="Google Shape;273;p35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4" name="Google Shape;274;p35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5" name="Google Shape;275;p35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6" name="Google Shape;276;p35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7" name="Google Shape;277;p35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8" name="Google Shape;278;p35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9" name="Google Shape;279;p35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0" name="Google Shape;280;p35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81" name="Google Shape;281;p35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196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Google Shape;282;p35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35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27058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4" name="Google Shape;284;p35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285" name="Google Shape;285;p35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35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35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35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89;p35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90;p35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35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92;p35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93;p35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94;p35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95;p35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6" name="Google Shape;296;p35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7" name="Google Shape;297;p35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298" name="Google Shape;298;p3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9" name="Google Shape;299;p35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00" name="Google Shape;300;p35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301;p35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35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303;p35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p35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Full-width Page">
  <p:cSld name="7_Full-width Page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6" name="Google Shape;306;p36" descr="A picture containing bed, man, white, ca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428"/>
            <a:ext cx="4057839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307" name="Google Shape;307;p36"/>
          <p:cNvSpPr/>
          <p:nvPr/>
        </p:nvSpPr>
        <p:spPr>
          <a:xfrm>
            <a:off x="0" y="1"/>
            <a:ext cx="4057838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p36"/>
          <p:cNvSpPr txBox="1">
            <a:spLocks noGrp="1"/>
          </p:cNvSpPr>
          <p:nvPr>
            <p:ph type="title"/>
          </p:nvPr>
        </p:nvSpPr>
        <p:spPr>
          <a:xfrm>
            <a:off x="533401" y="2514600"/>
            <a:ext cx="3124199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Franklin Gothic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3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lain White">
  <p:cSld name="Plain White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37"/>
          <p:cNvSpPr txBox="1"/>
          <p:nvPr/>
        </p:nvSpPr>
        <p:spPr>
          <a:xfrm>
            <a:off x="11260138" y="6416632"/>
            <a:ext cx="381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fld id="{00000000-1234-1234-1234-123412341234}" type="slidenum"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_Title with BG">
  <p:cSld name="WHITE_Title with BG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3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grpSp>
        <p:nvGrpSpPr>
          <p:cNvPr id="45" name="Google Shape;45;p1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6" name="Google Shape;46;p1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1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1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1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1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1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1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1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1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1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1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1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9" name="Google Shape;59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65" name="Google Shape;65;p1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2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72;p20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sng" strike="noStrike" cap="none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200" b="1" i="0" u="none" strike="noStrike" cap="none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" name="Google Shape;73;p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56669" y="3006053"/>
            <a:ext cx="3678662" cy="84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Google Shape;74;p20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23329" y="5965461"/>
            <a:ext cx="370332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20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25964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20">
            <a:hlinkClick r:id="rId8"/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28599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oogle Shape;78;p21"/>
          <p:cNvPicPr preferRelativeResize="0"/>
          <p:nvPr/>
        </p:nvPicPr>
        <p:blipFill rotWithShape="1">
          <a:blip r:embed="rId2">
            <a:alphaModFix/>
          </a:blip>
          <a:srcRect t="13558" r="6942" b="13557"/>
          <a:stretch/>
        </p:blipFill>
        <p:spPr>
          <a:xfrm>
            <a:off x="269999" y="270000"/>
            <a:ext cx="11652000" cy="6317999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79" name="Google Shape;79;p21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1960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196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80;p21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1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21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83" name="Google Shape;83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2896" y="901732"/>
            <a:ext cx="2497452" cy="574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87" name="Google Shape;87;p2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3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2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91" name="Google Shape;91;p23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" name="Google Shape;92;p23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23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23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2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99" name="Google Shape;99;p24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24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24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24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" name="Google Shape;103;p24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24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2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25" Type="http://schemas.openxmlformats.org/officeDocument/2006/relationships/tags" Target="../tags/tag2.xml"/><Relationship Id="rId26" Type="http://schemas.openxmlformats.org/officeDocument/2006/relationships/oleObject" Target="../embeddings/oleObject1.bin"/><Relationship Id="rId27" Type="http://schemas.openxmlformats.org/officeDocument/2006/relationships/image" Target="../media/image1.emf"/><Relationship Id="rId2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417D7E-076D-E41E-A9A1-609B2987E0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3754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25" imgH="424" progId="TCLayout.ActiveDocument.1">
                  <p:embed/>
                </p:oleObj>
              </mc:Choice>
              <mc:Fallback>
                <p:oleObj name="think-cell Slide" r:id="rId2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1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1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1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1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1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1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1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1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1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1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1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1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1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1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14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4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1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1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29" name="Google Shape;29;p1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1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10" Type="http://schemas.openxmlformats.org/officeDocument/2006/relationships/image" Target="../media/image71.png"/><Relationship Id="rId11" Type="http://schemas.openxmlformats.org/officeDocument/2006/relationships/image" Target="../media/image72.png"/><Relationship Id="rId12" Type="http://schemas.openxmlformats.org/officeDocument/2006/relationships/image" Target="../media/image73.png"/><Relationship Id="rId13" Type="http://schemas.openxmlformats.org/officeDocument/2006/relationships/image" Target="../media/image21.png"/><Relationship Id="rId14" Type="http://schemas.openxmlformats.org/officeDocument/2006/relationships/image" Target="../media/image74.png"/><Relationship Id="rId15" Type="http://schemas.openxmlformats.org/officeDocument/2006/relationships/image" Target="../media/image75.png"/><Relationship Id="rId16" Type="http://schemas.openxmlformats.org/officeDocument/2006/relationships/image" Target="../media/image76.png"/><Relationship Id="rId17" Type="http://schemas.openxmlformats.org/officeDocument/2006/relationships/image" Target="../media/image64.png"/><Relationship Id="rId18" Type="http://schemas.openxmlformats.org/officeDocument/2006/relationships/image" Target="../media/image77.png"/><Relationship Id="rId19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10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6" Type="http://schemas.openxmlformats.org/officeDocument/2006/relationships/image" Target="../media/image17.png"/><Relationship Id="rId7" Type="http://schemas.openxmlformats.org/officeDocument/2006/relationships/image" Target="../media/image69.png"/><Relationship Id="rId8" Type="http://schemas.openxmlformats.org/officeDocument/2006/relationships/image" Target="../media/image42.png"/><Relationship Id="rId9" Type="http://schemas.openxmlformats.org/officeDocument/2006/relationships/image" Target="../media/image70.pn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0.pn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10" Type="http://schemas.openxmlformats.org/officeDocument/2006/relationships/image" Target="../media/image81.png"/><Relationship Id="rId11" Type="http://schemas.openxmlformats.org/officeDocument/2006/relationships/image" Target="../media/image82.png"/><Relationship Id="rId12" Type="http://schemas.openxmlformats.org/officeDocument/2006/relationships/image" Target="../media/image83.png"/><Relationship Id="rId13" Type="http://schemas.openxmlformats.org/officeDocument/2006/relationships/image" Target="../media/image84.png"/><Relationship Id="rId14" Type="http://schemas.openxmlformats.org/officeDocument/2006/relationships/image" Target="../media/image85.png"/><Relationship Id="rId15" Type="http://schemas.openxmlformats.org/officeDocument/2006/relationships/image" Target="../media/image86.png"/><Relationship Id="rId16" Type="http://schemas.openxmlformats.org/officeDocument/2006/relationships/image" Target="../media/image87.png"/><Relationship Id="rId17" Type="http://schemas.openxmlformats.org/officeDocument/2006/relationships/image" Target="../media/image88.png"/><Relationship Id="rId18" Type="http://schemas.openxmlformats.org/officeDocument/2006/relationships/image" Target="../media/image89.png"/><Relationship Id="rId19" Type="http://schemas.openxmlformats.org/officeDocument/2006/relationships/image" Target="../media/image90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91.png"/><Relationship Id="rId21" Type="http://schemas.openxmlformats.org/officeDocument/2006/relationships/image" Target="../media/image92.png"/><Relationship Id="rId22" Type="http://schemas.openxmlformats.org/officeDocument/2006/relationships/image" Target="../media/image93.png"/><Relationship Id="rId23" Type="http://schemas.openxmlformats.org/officeDocument/2006/relationships/image" Target="../media/image94.png"/><Relationship Id="rId24" Type="http://schemas.openxmlformats.org/officeDocument/2006/relationships/image" Target="../media/image27.png"/><Relationship Id="rId25" Type="http://schemas.openxmlformats.org/officeDocument/2006/relationships/image" Target="../media/image95.png"/><Relationship Id="rId26" Type="http://schemas.openxmlformats.org/officeDocument/2006/relationships/image" Target="../media/image96.png"/><Relationship Id="rId27" Type="http://schemas.openxmlformats.org/officeDocument/2006/relationships/image" Target="../media/image97.png"/><Relationship Id="rId28" Type="http://schemas.openxmlformats.org/officeDocument/2006/relationships/image" Target="../media/image98.png"/><Relationship Id="rId29" Type="http://schemas.openxmlformats.org/officeDocument/2006/relationships/image" Target="../media/image99.png"/><Relationship Id="rId3" Type="http://schemas.openxmlformats.org/officeDocument/2006/relationships/notesSlide" Target="../notesSlides/notesSlide12.xml"/><Relationship Id="rId30" Type="http://schemas.openxmlformats.org/officeDocument/2006/relationships/image" Target="../media/image21.png"/><Relationship Id="rId31" Type="http://schemas.openxmlformats.org/officeDocument/2006/relationships/image" Target="../media/image100.png"/><Relationship Id="rId32" Type="http://schemas.openxmlformats.org/officeDocument/2006/relationships/image" Target="../media/image101.png"/><Relationship Id="rId33" Type="http://schemas.openxmlformats.org/officeDocument/2006/relationships/image" Target="../media/image102.png"/><Relationship Id="rId34" Type="http://schemas.openxmlformats.org/officeDocument/2006/relationships/image" Target="../media/image103.png"/><Relationship Id="rId35" Type="http://schemas.openxmlformats.org/officeDocument/2006/relationships/image" Target="../media/image104.png"/><Relationship Id="rId36" Type="http://schemas.openxmlformats.org/officeDocument/2006/relationships/image" Target="../media/image64.png"/><Relationship Id="rId37" Type="http://schemas.openxmlformats.org/officeDocument/2006/relationships/image" Target="../media/image105.png"/><Relationship Id="rId38" Type="http://schemas.openxmlformats.org/officeDocument/2006/relationships/image" Target="../media/image106.png"/><Relationship Id="rId39" Type="http://schemas.openxmlformats.org/officeDocument/2006/relationships/image" Target="../media/image107.png"/><Relationship Id="rId4" Type="http://schemas.openxmlformats.org/officeDocument/2006/relationships/oleObject" Target="../embeddings/oleObject9.bin"/><Relationship Id="rId40" Type="http://schemas.openxmlformats.org/officeDocument/2006/relationships/image" Target="../media/image108.png"/><Relationship Id="rId41" Type="http://schemas.openxmlformats.org/officeDocument/2006/relationships/image" Target="../media/image109.png"/><Relationship Id="rId42" Type="http://schemas.openxmlformats.org/officeDocument/2006/relationships/image" Target="../media/image110.png"/><Relationship Id="rId43" Type="http://schemas.openxmlformats.org/officeDocument/2006/relationships/image" Target="../media/image111.png"/><Relationship Id="rId44" Type="http://schemas.openxmlformats.org/officeDocument/2006/relationships/image" Target="../media/image112.png"/><Relationship Id="rId45" Type="http://schemas.openxmlformats.org/officeDocument/2006/relationships/image" Target="../media/image113.png"/><Relationship Id="rId46" Type="http://schemas.openxmlformats.org/officeDocument/2006/relationships/image" Target="../media/image114.png"/><Relationship Id="rId47" Type="http://schemas.openxmlformats.org/officeDocument/2006/relationships/image" Target="../media/image115.png"/><Relationship Id="rId48" Type="http://schemas.openxmlformats.org/officeDocument/2006/relationships/image" Target="../media/image116.png"/><Relationship Id="rId49" Type="http://schemas.openxmlformats.org/officeDocument/2006/relationships/image" Target="../media/image32.png"/><Relationship Id="rId5" Type="http://schemas.openxmlformats.org/officeDocument/2006/relationships/image" Target="../media/image1.emf"/><Relationship Id="rId6" Type="http://schemas.openxmlformats.org/officeDocument/2006/relationships/image" Target="../media/image78.png"/><Relationship Id="rId7" Type="http://schemas.openxmlformats.org/officeDocument/2006/relationships/image" Target="../media/image42.png"/><Relationship Id="rId8" Type="http://schemas.openxmlformats.org/officeDocument/2006/relationships/image" Target="../media/image79.png"/><Relationship Id="rId9" Type="http://schemas.openxmlformats.org/officeDocument/2006/relationships/image" Target="../media/image80.png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10" Type="http://schemas.openxmlformats.org/officeDocument/2006/relationships/image" Target="../media/image119.png"/><Relationship Id="rId11" Type="http://schemas.openxmlformats.org/officeDocument/2006/relationships/image" Target="../media/image120.png"/><Relationship Id="rId12" Type="http://schemas.openxmlformats.org/officeDocument/2006/relationships/image" Target="../media/image121.png"/><Relationship Id="rId13" Type="http://schemas.openxmlformats.org/officeDocument/2006/relationships/image" Target="../media/image122.png"/><Relationship Id="rId14" Type="http://schemas.openxmlformats.org/officeDocument/2006/relationships/image" Target="../media/image123.png"/><Relationship Id="rId15" Type="http://schemas.openxmlformats.org/officeDocument/2006/relationships/image" Target="../media/image124.png"/><Relationship Id="rId16" Type="http://schemas.openxmlformats.org/officeDocument/2006/relationships/image" Target="../media/image125.png"/><Relationship Id="rId17" Type="http://schemas.openxmlformats.org/officeDocument/2006/relationships/image" Target="../media/image126.png"/><Relationship Id="rId18" Type="http://schemas.openxmlformats.org/officeDocument/2006/relationships/image" Target="../media/image127.png"/><Relationship Id="rId19" Type="http://schemas.openxmlformats.org/officeDocument/2006/relationships/image" Target="../media/image128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129.png"/><Relationship Id="rId21" Type="http://schemas.openxmlformats.org/officeDocument/2006/relationships/image" Target="../media/image130.png"/><Relationship Id="rId22" Type="http://schemas.openxmlformats.org/officeDocument/2006/relationships/image" Target="../media/image131.png"/><Relationship Id="rId23" Type="http://schemas.openxmlformats.org/officeDocument/2006/relationships/image" Target="../media/image132.png"/><Relationship Id="rId24" Type="http://schemas.openxmlformats.org/officeDocument/2006/relationships/image" Target="../media/image133.png"/><Relationship Id="rId25" Type="http://schemas.openxmlformats.org/officeDocument/2006/relationships/image" Target="../media/image134.png"/><Relationship Id="rId26" Type="http://schemas.openxmlformats.org/officeDocument/2006/relationships/image" Target="../media/image135.png"/><Relationship Id="rId27" Type="http://schemas.openxmlformats.org/officeDocument/2006/relationships/image" Target="../media/image136.png"/><Relationship Id="rId28" Type="http://schemas.openxmlformats.org/officeDocument/2006/relationships/image" Target="../media/image137.png"/><Relationship Id="rId29" Type="http://schemas.openxmlformats.org/officeDocument/2006/relationships/image" Target="../media/image138.png"/><Relationship Id="rId3" Type="http://schemas.openxmlformats.org/officeDocument/2006/relationships/notesSlide" Target="../notesSlides/notesSlide13.xml"/><Relationship Id="rId30" Type="http://schemas.openxmlformats.org/officeDocument/2006/relationships/image" Target="../media/image139.png"/><Relationship Id="rId31" Type="http://schemas.openxmlformats.org/officeDocument/2006/relationships/image" Target="../media/image140.png"/><Relationship Id="rId32" Type="http://schemas.openxmlformats.org/officeDocument/2006/relationships/image" Target="../media/image141.png"/><Relationship Id="rId33" Type="http://schemas.openxmlformats.org/officeDocument/2006/relationships/image" Target="../media/image142.png"/><Relationship Id="rId34" Type="http://schemas.openxmlformats.org/officeDocument/2006/relationships/image" Target="../media/image143.png"/><Relationship Id="rId35" Type="http://schemas.openxmlformats.org/officeDocument/2006/relationships/image" Target="../media/image144.png"/><Relationship Id="rId36" Type="http://schemas.openxmlformats.org/officeDocument/2006/relationships/image" Target="../media/image145.png"/><Relationship Id="rId37" Type="http://schemas.openxmlformats.org/officeDocument/2006/relationships/image" Target="../media/image146.png"/><Relationship Id="rId38" Type="http://schemas.openxmlformats.org/officeDocument/2006/relationships/image" Target="../media/image147.png"/><Relationship Id="rId39" Type="http://schemas.openxmlformats.org/officeDocument/2006/relationships/image" Target="../media/image148.png"/><Relationship Id="rId4" Type="http://schemas.openxmlformats.org/officeDocument/2006/relationships/oleObject" Target="../embeddings/oleObject10.bin"/><Relationship Id="rId40" Type="http://schemas.openxmlformats.org/officeDocument/2006/relationships/image" Target="../media/image149.png"/><Relationship Id="rId41" Type="http://schemas.openxmlformats.org/officeDocument/2006/relationships/image" Target="../media/image150.png"/><Relationship Id="rId42" Type="http://schemas.openxmlformats.org/officeDocument/2006/relationships/image" Target="../media/image151.png"/><Relationship Id="rId43" Type="http://schemas.openxmlformats.org/officeDocument/2006/relationships/image" Target="../media/image152.png"/><Relationship Id="rId44" Type="http://schemas.openxmlformats.org/officeDocument/2006/relationships/image" Target="../media/image153.png"/><Relationship Id="rId45" Type="http://schemas.openxmlformats.org/officeDocument/2006/relationships/image" Target="../media/image154.png"/><Relationship Id="rId46" Type="http://schemas.openxmlformats.org/officeDocument/2006/relationships/image" Target="../media/image155.png"/><Relationship Id="rId47" Type="http://schemas.openxmlformats.org/officeDocument/2006/relationships/image" Target="../media/image156.png"/><Relationship Id="rId48" Type="http://schemas.openxmlformats.org/officeDocument/2006/relationships/image" Target="../media/image157.png"/><Relationship Id="rId49" Type="http://schemas.openxmlformats.org/officeDocument/2006/relationships/image" Target="../media/image158.png"/><Relationship Id="rId5" Type="http://schemas.openxmlformats.org/officeDocument/2006/relationships/image" Target="../media/image18.emf"/><Relationship Id="rId50" Type="http://schemas.openxmlformats.org/officeDocument/2006/relationships/image" Target="../media/image159.png"/><Relationship Id="rId51" Type="http://schemas.openxmlformats.org/officeDocument/2006/relationships/image" Target="../media/image160.png"/><Relationship Id="rId52" Type="http://schemas.openxmlformats.org/officeDocument/2006/relationships/image" Target="../media/image161.png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117.png"/><Relationship Id="rId9" Type="http://schemas.openxmlformats.org/officeDocument/2006/relationships/image" Target="../media/image118.png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10" Type="http://schemas.openxmlformats.org/officeDocument/2006/relationships/image" Target="../media/image165.png"/><Relationship Id="rId11" Type="http://schemas.openxmlformats.org/officeDocument/2006/relationships/image" Target="../media/image166.png"/><Relationship Id="rId12" Type="http://schemas.openxmlformats.org/officeDocument/2006/relationships/image" Target="../media/image167.png"/><Relationship Id="rId13" Type="http://schemas.openxmlformats.org/officeDocument/2006/relationships/image" Target="../media/image168.png"/><Relationship Id="rId14" Type="http://schemas.openxmlformats.org/officeDocument/2006/relationships/image" Target="../media/image169.png"/><Relationship Id="rId15" Type="http://schemas.openxmlformats.org/officeDocument/2006/relationships/image" Target="../media/image170.png"/><Relationship Id="rId16" Type="http://schemas.openxmlformats.org/officeDocument/2006/relationships/image" Target="../media/image171.png"/><Relationship Id="rId17" Type="http://schemas.openxmlformats.org/officeDocument/2006/relationships/image" Target="../media/image64.png"/><Relationship Id="rId18" Type="http://schemas.openxmlformats.org/officeDocument/2006/relationships/image" Target="../media/image172.png"/><Relationship Id="rId19" Type="http://schemas.openxmlformats.org/officeDocument/2006/relationships/image" Target="../media/image173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174.png"/><Relationship Id="rId21" Type="http://schemas.openxmlformats.org/officeDocument/2006/relationships/image" Target="../media/image175.png"/><Relationship Id="rId22" Type="http://schemas.openxmlformats.org/officeDocument/2006/relationships/image" Target="../media/image176.png"/><Relationship Id="rId23" Type="http://schemas.openxmlformats.org/officeDocument/2006/relationships/image" Target="../media/image177.png"/><Relationship Id="rId24" Type="http://schemas.openxmlformats.org/officeDocument/2006/relationships/image" Target="../media/image178.png"/><Relationship Id="rId25" Type="http://schemas.openxmlformats.org/officeDocument/2006/relationships/image" Target="../media/image179.png"/><Relationship Id="rId26" Type="http://schemas.openxmlformats.org/officeDocument/2006/relationships/image" Target="../media/image180.png"/><Relationship Id="rId27" Type="http://schemas.openxmlformats.org/officeDocument/2006/relationships/image" Target="../media/image181.png"/><Relationship Id="rId3" Type="http://schemas.openxmlformats.org/officeDocument/2006/relationships/notesSlide" Target="../notesSlides/notesSlide14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8.emf"/><Relationship Id="rId6" Type="http://schemas.openxmlformats.org/officeDocument/2006/relationships/image" Target="../media/image21.png"/><Relationship Id="rId7" Type="http://schemas.openxmlformats.org/officeDocument/2006/relationships/image" Target="../media/image162.png"/><Relationship Id="rId8" Type="http://schemas.openxmlformats.org/officeDocument/2006/relationships/image" Target="../media/image163.png"/><Relationship Id="rId9" Type="http://schemas.openxmlformats.org/officeDocument/2006/relationships/image" Target="../media/image164.png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10" Type="http://schemas.openxmlformats.org/officeDocument/2006/relationships/image" Target="../media/image184.png"/><Relationship Id="rId11" Type="http://schemas.openxmlformats.org/officeDocument/2006/relationships/image" Target="../media/image185.png"/><Relationship Id="rId12" Type="http://schemas.openxmlformats.org/officeDocument/2006/relationships/image" Target="../media/image186.png"/><Relationship Id="rId13" Type="http://schemas.openxmlformats.org/officeDocument/2006/relationships/image" Target="../media/image187.png"/><Relationship Id="rId14" Type="http://schemas.openxmlformats.org/officeDocument/2006/relationships/image" Target="../media/image188.png"/><Relationship Id="rId15" Type="http://schemas.openxmlformats.org/officeDocument/2006/relationships/image" Target="../media/image189.png"/><Relationship Id="rId16" Type="http://schemas.openxmlformats.org/officeDocument/2006/relationships/image" Target="../media/image190.png"/><Relationship Id="rId17" Type="http://schemas.openxmlformats.org/officeDocument/2006/relationships/image" Target="../media/image191.png"/><Relationship Id="rId18" Type="http://schemas.openxmlformats.org/officeDocument/2006/relationships/image" Target="../media/image192.png"/><Relationship Id="rId19" Type="http://schemas.openxmlformats.org/officeDocument/2006/relationships/image" Target="../media/image193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194.png"/><Relationship Id="rId21" Type="http://schemas.openxmlformats.org/officeDocument/2006/relationships/image" Target="../media/image195.png"/><Relationship Id="rId22" Type="http://schemas.openxmlformats.org/officeDocument/2006/relationships/image" Target="../media/image196.png"/><Relationship Id="rId23" Type="http://schemas.openxmlformats.org/officeDocument/2006/relationships/image" Target="../media/image197.png"/><Relationship Id="rId24" Type="http://schemas.openxmlformats.org/officeDocument/2006/relationships/image" Target="../media/image198.png"/><Relationship Id="rId25" Type="http://schemas.openxmlformats.org/officeDocument/2006/relationships/image" Target="../media/image199.png"/><Relationship Id="rId26" Type="http://schemas.openxmlformats.org/officeDocument/2006/relationships/image" Target="../media/image200.png"/><Relationship Id="rId27" Type="http://schemas.openxmlformats.org/officeDocument/2006/relationships/image" Target="../media/image201.png"/><Relationship Id="rId28" Type="http://schemas.openxmlformats.org/officeDocument/2006/relationships/image" Target="../media/image202.png"/><Relationship Id="rId29" Type="http://schemas.openxmlformats.org/officeDocument/2006/relationships/image" Target="../media/image203.png"/><Relationship Id="rId3" Type="http://schemas.openxmlformats.org/officeDocument/2006/relationships/notesSlide" Target="../notesSlides/notesSlide15.xml"/><Relationship Id="rId30" Type="http://schemas.openxmlformats.org/officeDocument/2006/relationships/image" Target="../media/image204.png"/><Relationship Id="rId31" Type="http://schemas.openxmlformats.org/officeDocument/2006/relationships/image" Target="../media/image205.png"/><Relationship Id="rId32" Type="http://schemas.openxmlformats.org/officeDocument/2006/relationships/image" Target="../media/image206.png"/><Relationship Id="rId33" Type="http://schemas.openxmlformats.org/officeDocument/2006/relationships/image" Target="../media/image207.png"/><Relationship Id="rId34" Type="http://schemas.openxmlformats.org/officeDocument/2006/relationships/image" Target="../media/image208.png"/><Relationship Id="rId35" Type="http://schemas.openxmlformats.org/officeDocument/2006/relationships/image" Target="../media/image209.png"/><Relationship Id="rId36" Type="http://schemas.openxmlformats.org/officeDocument/2006/relationships/image" Target="../media/image210.png"/><Relationship Id="rId37" Type="http://schemas.openxmlformats.org/officeDocument/2006/relationships/image" Target="../media/image211.png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182.png"/><Relationship Id="rId9" Type="http://schemas.openxmlformats.org/officeDocument/2006/relationships/image" Target="../media/image183.png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10" Type="http://schemas.openxmlformats.org/officeDocument/2006/relationships/image" Target="../media/image215.png"/><Relationship Id="rId11" Type="http://schemas.openxmlformats.org/officeDocument/2006/relationships/image" Target="../media/image216.png"/><Relationship Id="rId12" Type="http://schemas.openxmlformats.org/officeDocument/2006/relationships/image" Target="../media/image217.png"/><Relationship Id="rId13" Type="http://schemas.openxmlformats.org/officeDocument/2006/relationships/image" Target="../media/image218.png"/><Relationship Id="rId14" Type="http://schemas.openxmlformats.org/officeDocument/2006/relationships/image" Target="../media/image219.png"/><Relationship Id="rId15" Type="http://schemas.openxmlformats.org/officeDocument/2006/relationships/image" Target="../media/image220.png"/><Relationship Id="rId16" Type="http://schemas.openxmlformats.org/officeDocument/2006/relationships/image" Target="../media/image221.png"/><Relationship Id="rId17" Type="http://schemas.openxmlformats.org/officeDocument/2006/relationships/image" Target="../media/image222.png"/><Relationship Id="rId18" Type="http://schemas.openxmlformats.org/officeDocument/2006/relationships/image" Target="../media/image223.png"/><Relationship Id="rId19" Type="http://schemas.openxmlformats.org/officeDocument/2006/relationships/image" Target="../media/image224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225.png"/><Relationship Id="rId21" Type="http://schemas.openxmlformats.org/officeDocument/2006/relationships/image" Target="../media/image226.png"/><Relationship Id="rId22" Type="http://schemas.openxmlformats.org/officeDocument/2006/relationships/image" Target="../media/image227.png"/><Relationship Id="rId23" Type="http://schemas.openxmlformats.org/officeDocument/2006/relationships/image" Target="../media/image228.png"/><Relationship Id="rId24" Type="http://schemas.openxmlformats.org/officeDocument/2006/relationships/image" Target="../media/image229.png"/><Relationship Id="rId25" Type="http://schemas.openxmlformats.org/officeDocument/2006/relationships/image" Target="../media/image230.png"/><Relationship Id="rId26" Type="http://schemas.openxmlformats.org/officeDocument/2006/relationships/image" Target="../media/image231.png"/><Relationship Id="rId27" Type="http://schemas.openxmlformats.org/officeDocument/2006/relationships/image" Target="../media/image232.png"/><Relationship Id="rId3" Type="http://schemas.openxmlformats.org/officeDocument/2006/relationships/notesSlide" Target="../notesSlides/notesSlide16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8.emf"/><Relationship Id="rId6" Type="http://schemas.openxmlformats.org/officeDocument/2006/relationships/image" Target="../media/image21.png"/><Relationship Id="rId7" Type="http://schemas.openxmlformats.org/officeDocument/2006/relationships/image" Target="../media/image212.png"/><Relationship Id="rId8" Type="http://schemas.openxmlformats.org/officeDocument/2006/relationships/image" Target="../media/image213.png"/><Relationship Id="rId9" Type="http://schemas.openxmlformats.org/officeDocument/2006/relationships/image" Target="../media/image214.png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10" Type="http://schemas.openxmlformats.org/officeDocument/2006/relationships/image" Target="../media/image235.png"/><Relationship Id="rId11" Type="http://schemas.openxmlformats.org/officeDocument/2006/relationships/image" Target="../media/image236.png"/><Relationship Id="rId12" Type="http://schemas.openxmlformats.org/officeDocument/2006/relationships/image" Target="../media/image237.png"/><Relationship Id="rId13" Type="http://schemas.openxmlformats.org/officeDocument/2006/relationships/image" Target="../media/image238.png"/><Relationship Id="rId14" Type="http://schemas.openxmlformats.org/officeDocument/2006/relationships/image" Target="../media/image239.png"/><Relationship Id="rId15" Type="http://schemas.openxmlformats.org/officeDocument/2006/relationships/image" Target="../media/image240.png"/><Relationship Id="rId16" Type="http://schemas.openxmlformats.org/officeDocument/2006/relationships/image" Target="../media/image241.png"/><Relationship Id="rId17" Type="http://schemas.openxmlformats.org/officeDocument/2006/relationships/image" Target="../media/image242.png"/><Relationship Id="rId18" Type="http://schemas.openxmlformats.org/officeDocument/2006/relationships/image" Target="../media/image243.png"/><Relationship Id="rId19" Type="http://schemas.openxmlformats.org/officeDocument/2006/relationships/image" Target="../media/image244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245.png"/><Relationship Id="rId21" Type="http://schemas.openxmlformats.org/officeDocument/2006/relationships/image" Target="../media/image246.png"/><Relationship Id="rId22" Type="http://schemas.openxmlformats.org/officeDocument/2006/relationships/image" Target="../media/image247.png"/><Relationship Id="rId23" Type="http://schemas.openxmlformats.org/officeDocument/2006/relationships/image" Target="../media/image248.png"/><Relationship Id="rId24" Type="http://schemas.openxmlformats.org/officeDocument/2006/relationships/image" Target="../media/image249.png"/><Relationship Id="rId25" Type="http://schemas.openxmlformats.org/officeDocument/2006/relationships/image" Target="../media/image250.png"/><Relationship Id="rId26" Type="http://schemas.openxmlformats.org/officeDocument/2006/relationships/image" Target="../media/image251.png"/><Relationship Id="rId27" Type="http://schemas.openxmlformats.org/officeDocument/2006/relationships/image" Target="../media/image252.png"/><Relationship Id="rId3" Type="http://schemas.openxmlformats.org/officeDocument/2006/relationships/notesSlide" Target="../notesSlides/notesSlide17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233.png"/><Relationship Id="rId9" Type="http://schemas.openxmlformats.org/officeDocument/2006/relationships/image" Target="../media/image234.png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10" Type="http://schemas.openxmlformats.org/officeDocument/2006/relationships/image" Target="../media/image256.png"/><Relationship Id="rId11" Type="http://schemas.openxmlformats.org/officeDocument/2006/relationships/image" Target="../media/image257.png"/><Relationship Id="rId12" Type="http://schemas.openxmlformats.org/officeDocument/2006/relationships/image" Target="../media/image258.png"/><Relationship Id="rId13" Type="http://schemas.openxmlformats.org/officeDocument/2006/relationships/image" Target="../media/image259.png"/><Relationship Id="rId14" Type="http://schemas.openxmlformats.org/officeDocument/2006/relationships/image" Target="../media/image260.png"/><Relationship Id="rId15" Type="http://schemas.openxmlformats.org/officeDocument/2006/relationships/image" Target="../media/image261.png"/><Relationship Id="rId16" Type="http://schemas.openxmlformats.org/officeDocument/2006/relationships/image" Target="../media/image262.png"/><Relationship Id="rId17" Type="http://schemas.openxmlformats.org/officeDocument/2006/relationships/image" Target="../media/image263.png"/><Relationship Id="rId18" Type="http://schemas.openxmlformats.org/officeDocument/2006/relationships/image" Target="../media/image264.png"/><Relationship Id="rId19" Type="http://schemas.openxmlformats.org/officeDocument/2006/relationships/image" Target="../media/image265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266.png"/><Relationship Id="rId21" Type="http://schemas.openxmlformats.org/officeDocument/2006/relationships/image" Target="../media/image267.png"/><Relationship Id="rId22" Type="http://schemas.openxmlformats.org/officeDocument/2006/relationships/image" Target="../media/image268.png"/><Relationship Id="rId23" Type="http://schemas.openxmlformats.org/officeDocument/2006/relationships/image" Target="../media/image269.png"/><Relationship Id="rId24" Type="http://schemas.openxmlformats.org/officeDocument/2006/relationships/image" Target="../media/image270.png"/><Relationship Id="rId25" Type="http://schemas.openxmlformats.org/officeDocument/2006/relationships/image" Target="../media/image271.png"/><Relationship Id="rId26" Type="http://schemas.openxmlformats.org/officeDocument/2006/relationships/image" Target="../media/image272.png"/><Relationship Id="rId27" Type="http://schemas.openxmlformats.org/officeDocument/2006/relationships/image" Target="../media/image273.png"/><Relationship Id="rId28" Type="http://schemas.openxmlformats.org/officeDocument/2006/relationships/image" Target="../media/image274.png"/><Relationship Id="rId3" Type="http://schemas.openxmlformats.org/officeDocument/2006/relationships/notesSlide" Target="../notesSlides/notesSlide18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8.emf"/><Relationship Id="rId6" Type="http://schemas.openxmlformats.org/officeDocument/2006/relationships/image" Target="../media/image21.png"/><Relationship Id="rId7" Type="http://schemas.openxmlformats.org/officeDocument/2006/relationships/image" Target="../media/image253.png"/><Relationship Id="rId8" Type="http://schemas.openxmlformats.org/officeDocument/2006/relationships/image" Target="../media/image254.png"/><Relationship Id="rId9" Type="http://schemas.openxmlformats.org/officeDocument/2006/relationships/image" Target="../media/image255.png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10" Type="http://schemas.openxmlformats.org/officeDocument/2006/relationships/image" Target="../media/image278.png"/><Relationship Id="rId11" Type="http://schemas.openxmlformats.org/officeDocument/2006/relationships/image" Target="../media/image279.png"/><Relationship Id="rId12" Type="http://schemas.openxmlformats.org/officeDocument/2006/relationships/image" Target="../media/image280.png"/><Relationship Id="rId13" Type="http://schemas.openxmlformats.org/officeDocument/2006/relationships/image" Target="../media/image281.png"/><Relationship Id="rId14" Type="http://schemas.openxmlformats.org/officeDocument/2006/relationships/image" Target="../media/image282.png"/><Relationship Id="rId15" Type="http://schemas.openxmlformats.org/officeDocument/2006/relationships/image" Target="../media/image283.png"/><Relationship Id="rId16" Type="http://schemas.openxmlformats.org/officeDocument/2006/relationships/image" Target="../media/image284.png"/><Relationship Id="rId17" Type="http://schemas.openxmlformats.org/officeDocument/2006/relationships/image" Target="../media/image285.png"/><Relationship Id="rId18" Type="http://schemas.openxmlformats.org/officeDocument/2006/relationships/image" Target="../media/image286.png"/><Relationship Id="rId19" Type="http://schemas.openxmlformats.org/officeDocument/2006/relationships/image" Target="../media/image287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288.png"/><Relationship Id="rId21" Type="http://schemas.openxmlformats.org/officeDocument/2006/relationships/image" Target="../media/image289.png"/><Relationship Id="rId22" Type="http://schemas.openxmlformats.org/officeDocument/2006/relationships/image" Target="../media/image290.png"/><Relationship Id="rId23" Type="http://schemas.openxmlformats.org/officeDocument/2006/relationships/image" Target="../media/image291.png"/><Relationship Id="rId24" Type="http://schemas.openxmlformats.org/officeDocument/2006/relationships/image" Target="../media/image292.png"/><Relationship Id="rId25" Type="http://schemas.openxmlformats.org/officeDocument/2006/relationships/image" Target="../media/image293.png"/><Relationship Id="rId26" Type="http://schemas.openxmlformats.org/officeDocument/2006/relationships/image" Target="../media/image294.png"/><Relationship Id="rId27" Type="http://schemas.openxmlformats.org/officeDocument/2006/relationships/image" Target="../media/image295.png"/><Relationship Id="rId28" Type="http://schemas.openxmlformats.org/officeDocument/2006/relationships/image" Target="../media/image296.png"/><Relationship Id="rId29" Type="http://schemas.openxmlformats.org/officeDocument/2006/relationships/image" Target="../media/image297.png"/><Relationship Id="rId3" Type="http://schemas.openxmlformats.org/officeDocument/2006/relationships/notesSlide" Target="../notesSlides/notesSlide19.xml"/><Relationship Id="rId30" Type="http://schemas.openxmlformats.org/officeDocument/2006/relationships/image" Target="../media/image298.png"/><Relationship Id="rId31" Type="http://schemas.openxmlformats.org/officeDocument/2006/relationships/image" Target="../media/image299.png"/><Relationship Id="rId32" Type="http://schemas.openxmlformats.org/officeDocument/2006/relationships/image" Target="../media/image300.png"/><Relationship Id="rId33" Type="http://schemas.openxmlformats.org/officeDocument/2006/relationships/image" Target="../media/image301.png"/><Relationship Id="rId34" Type="http://schemas.openxmlformats.org/officeDocument/2006/relationships/image" Target="../media/image302.png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Relationship Id="rId6" Type="http://schemas.openxmlformats.org/officeDocument/2006/relationships/image" Target="../media/image275.png"/><Relationship Id="rId7" Type="http://schemas.openxmlformats.org/officeDocument/2006/relationships/image" Target="../media/image42.png"/><Relationship Id="rId8" Type="http://schemas.openxmlformats.org/officeDocument/2006/relationships/image" Target="../media/image276.png"/><Relationship Id="rId9" Type="http://schemas.openxmlformats.org/officeDocument/2006/relationships/image" Target="../media/image277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jpg"/><Relationship Id="rId8" Type="http://schemas.openxmlformats.org/officeDocument/2006/relationships/image" Target="../media/image16.png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10" Type="http://schemas.openxmlformats.org/officeDocument/2006/relationships/image" Target="../media/image27.png"/><Relationship Id="rId11" Type="http://schemas.openxmlformats.org/officeDocument/2006/relationships/image" Target="../media/image306.png"/><Relationship Id="rId12" Type="http://schemas.openxmlformats.org/officeDocument/2006/relationships/image" Target="../media/image21.png"/><Relationship Id="rId13" Type="http://schemas.openxmlformats.org/officeDocument/2006/relationships/image" Target="../media/image307.png"/><Relationship Id="rId14" Type="http://schemas.openxmlformats.org/officeDocument/2006/relationships/image" Target="../media/image308.png"/><Relationship Id="rId15" Type="http://schemas.openxmlformats.org/officeDocument/2006/relationships/image" Target="../media/image309.png"/><Relationship Id="rId16" Type="http://schemas.openxmlformats.org/officeDocument/2006/relationships/image" Target="../media/image310.png"/><Relationship Id="rId17" Type="http://schemas.openxmlformats.org/officeDocument/2006/relationships/image" Target="../media/image311.png"/><Relationship Id="rId18" Type="http://schemas.openxmlformats.org/officeDocument/2006/relationships/image" Target="../media/image312.png"/><Relationship Id="rId19" Type="http://schemas.openxmlformats.org/officeDocument/2006/relationships/image" Target="../media/image313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314.png"/><Relationship Id="rId21" Type="http://schemas.openxmlformats.org/officeDocument/2006/relationships/image" Target="../media/image315.png"/><Relationship Id="rId22" Type="http://schemas.openxmlformats.org/officeDocument/2006/relationships/image" Target="../media/image316.png"/><Relationship Id="rId23" Type="http://schemas.openxmlformats.org/officeDocument/2006/relationships/image" Target="../media/image317.png"/><Relationship Id="rId24" Type="http://schemas.openxmlformats.org/officeDocument/2006/relationships/image" Target="../media/image318.png"/><Relationship Id="rId25" Type="http://schemas.openxmlformats.org/officeDocument/2006/relationships/image" Target="../media/image319.png"/><Relationship Id="rId26" Type="http://schemas.openxmlformats.org/officeDocument/2006/relationships/image" Target="../media/image320.png"/><Relationship Id="rId27" Type="http://schemas.openxmlformats.org/officeDocument/2006/relationships/image" Target="../media/image321.png"/><Relationship Id="rId28" Type="http://schemas.openxmlformats.org/officeDocument/2006/relationships/image" Target="../media/image322.png"/><Relationship Id="rId29" Type="http://schemas.openxmlformats.org/officeDocument/2006/relationships/image" Target="../media/image323.png"/><Relationship Id="rId3" Type="http://schemas.openxmlformats.org/officeDocument/2006/relationships/notesSlide" Target="../notesSlides/notesSlide20.xml"/><Relationship Id="rId30" Type="http://schemas.openxmlformats.org/officeDocument/2006/relationships/image" Target="../media/image324.png"/><Relationship Id="rId31" Type="http://schemas.openxmlformats.org/officeDocument/2006/relationships/image" Target="../media/image325.png"/><Relationship Id="rId32" Type="http://schemas.openxmlformats.org/officeDocument/2006/relationships/image" Target="../media/image326.png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8.emf"/><Relationship Id="rId6" Type="http://schemas.openxmlformats.org/officeDocument/2006/relationships/image" Target="../media/image303.png"/><Relationship Id="rId7" Type="http://schemas.openxmlformats.org/officeDocument/2006/relationships/image" Target="../media/image42.png"/><Relationship Id="rId8" Type="http://schemas.openxmlformats.org/officeDocument/2006/relationships/image" Target="../media/image304.png"/><Relationship Id="rId9" Type="http://schemas.openxmlformats.org/officeDocument/2006/relationships/image" Target="../media/image305.png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10" Type="http://schemas.openxmlformats.org/officeDocument/2006/relationships/image" Target="../media/image329.png"/><Relationship Id="rId11" Type="http://schemas.openxmlformats.org/officeDocument/2006/relationships/image" Target="../media/image330.png"/><Relationship Id="rId12" Type="http://schemas.openxmlformats.org/officeDocument/2006/relationships/image" Target="../media/image331.png"/><Relationship Id="rId13" Type="http://schemas.openxmlformats.org/officeDocument/2006/relationships/image" Target="../media/image332.png"/><Relationship Id="rId14" Type="http://schemas.openxmlformats.org/officeDocument/2006/relationships/image" Target="../media/image333.png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21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6" Type="http://schemas.openxmlformats.org/officeDocument/2006/relationships/image" Target="../media/image327.png"/><Relationship Id="rId7" Type="http://schemas.openxmlformats.org/officeDocument/2006/relationships/image" Target="../media/image42.png"/><Relationship Id="rId8" Type="http://schemas.openxmlformats.org/officeDocument/2006/relationships/image" Target="../media/image328.png"/><Relationship Id="rId9" Type="http://schemas.openxmlformats.org/officeDocument/2006/relationships/image" Target="../media/image21.png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0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10" Type="http://schemas.openxmlformats.org/officeDocument/2006/relationships/image" Target="../media/image25.png"/><Relationship Id="rId11" Type="http://schemas.openxmlformats.org/officeDocument/2006/relationships/image" Target="../media/image26.pn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4" Type="http://schemas.openxmlformats.org/officeDocument/2006/relationships/image" Target="../media/image29.png"/><Relationship Id="rId15" Type="http://schemas.openxmlformats.org/officeDocument/2006/relationships/image" Target="../media/image30.png"/><Relationship Id="rId16" Type="http://schemas.openxmlformats.org/officeDocument/2006/relationships/image" Target="../media/image21.png"/><Relationship Id="rId17" Type="http://schemas.openxmlformats.org/officeDocument/2006/relationships/image" Target="../media/image31.png"/><Relationship Id="rId18" Type="http://schemas.openxmlformats.org/officeDocument/2006/relationships/image" Target="../media/image32.png"/><Relationship Id="rId19" Type="http://schemas.openxmlformats.org/officeDocument/2006/relationships/image" Target="../media/image33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34.png"/><Relationship Id="rId21" Type="http://schemas.openxmlformats.org/officeDocument/2006/relationships/image" Target="../media/image35.png"/><Relationship Id="rId22" Type="http://schemas.openxmlformats.org/officeDocument/2006/relationships/image" Target="../media/image36.png"/><Relationship Id="rId23" Type="http://schemas.openxmlformats.org/officeDocument/2006/relationships/image" Target="../media/image37.png"/><Relationship Id="rId24" Type="http://schemas.openxmlformats.org/officeDocument/2006/relationships/image" Target="../media/image38.png"/><Relationship Id="rId25" Type="http://schemas.openxmlformats.org/officeDocument/2006/relationships/image" Target="../media/image39.png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17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10" Type="http://schemas.openxmlformats.org/officeDocument/2006/relationships/image" Target="../media/image43.png"/><Relationship Id="rId11" Type="http://schemas.openxmlformats.org/officeDocument/2006/relationships/image" Target="../media/image21.png"/><Relationship Id="rId12" Type="http://schemas.openxmlformats.org/officeDocument/2006/relationships/image" Target="../media/image44.png"/><Relationship Id="rId13" Type="http://schemas.openxmlformats.org/officeDocument/2006/relationships/image" Target="../media/image45.png"/><Relationship Id="rId14" Type="http://schemas.openxmlformats.org/officeDocument/2006/relationships/image" Target="../media/image23.png"/><Relationship Id="rId15" Type="http://schemas.openxmlformats.org/officeDocument/2006/relationships/image" Target="../media/image46.png"/><Relationship Id="rId16" Type="http://schemas.openxmlformats.org/officeDocument/2006/relationships/image" Target="../media/image47.png"/><Relationship Id="rId17" Type="http://schemas.openxmlformats.org/officeDocument/2006/relationships/image" Target="../media/image48.png"/><Relationship Id="rId18" Type="http://schemas.openxmlformats.org/officeDocument/2006/relationships/image" Target="../media/image27.png"/><Relationship Id="rId19" Type="http://schemas.openxmlformats.org/officeDocument/2006/relationships/image" Target="../media/image49.png"/><Relationship Id="rId2" Type="http://schemas.openxmlformats.org/officeDocument/2006/relationships/slideLayout" Target="../slideLayouts/slideLayout4.xml"/><Relationship Id="rId20" Type="http://schemas.openxmlformats.org/officeDocument/2006/relationships/image" Target="../media/image50.png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40.png"/><Relationship Id="rId7" Type="http://schemas.openxmlformats.org/officeDocument/2006/relationships/image" Target="../media/image32.png"/><Relationship Id="rId8" Type="http://schemas.openxmlformats.org/officeDocument/2006/relationships/image" Target="../media/image41.png"/><Relationship Id="rId9" Type="http://schemas.openxmlformats.org/officeDocument/2006/relationships/image" Target="../media/image42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10" Type="http://schemas.openxmlformats.org/officeDocument/2006/relationships/image" Target="../media/image42.png"/><Relationship Id="rId11" Type="http://schemas.openxmlformats.org/officeDocument/2006/relationships/image" Target="../media/image53.png"/><Relationship Id="rId12" Type="http://schemas.openxmlformats.org/officeDocument/2006/relationships/image" Target="../media/image27.png"/><Relationship Id="rId13" Type="http://schemas.openxmlformats.org/officeDocument/2006/relationships/image" Target="../media/image54.png"/><Relationship Id="rId14" Type="http://schemas.openxmlformats.org/officeDocument/2006/relationships/image" Target="../media/image21.png"/><Relationship Id="rId15" Type="http://schemas.openxmlformats.org/officeDocument/2006/relationships/image" Target="../media/image55.png"/><Relationship Id="rId16" Type="http://schemas.openxmlformats.org/officeDocument/2006/relationships/image" Target="../media/image56.png"/><Relationship Id="rId17" Type="http://schemas.openxmlformats.org/officeDocument/2006/relationships/image" Target="../media/image57.png"/><Relationship Id="rId18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8.emf"/><Relationship Id="rId6" Type="http://schemas.openxmlformats.org/officeDocument/2006/relationships/image" Target="../media/image17.png"/><Relationship Id="rId7" Type="http://schemas.openxmlformats.org/officeDocument/2006/relationships/image" Target="../media/image51.png"/><Relationship Id="rId8" Type="http://schemas.openxmlformats.org/officeDocument/2006/relationships/image" Target="../media/image32.png"/><Relationship Id="rId9" Type="http://schemas.openxmlformats.org/officeDocument/2006/relationships/image" Target="../media/image52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10" Type="http://schemas.openxmlformats.org/officeDocument/2006/relationships/image" Target="../media/image21.png"/><Relationship Id="rId11" Type="http://schemas.openxmlformats.org/officeDocument/2006/relationships/image" Target="../media/image60.png"/><Relationship Id="rId12" Type="http://schemas.openxmlformats.org/officeDocument/2006/relationships/image" Target="../media/image61.png"/><Relationship Id="rId13" Type="http://schemas.openxmlformats.org/officeDocument/2006/relationships/image" Target="../media/image62.png"/><Relationship Id="rId14" Type="http://schemas.openxmlformats.org/officeDocument/2006/relationships/image" Target="../media/image27.png"/><Relationship Id="rId15" Type="http://schemas.openxmlformats.org/officeDocument/2006/relationships/image" Target="../media/image63.png"/><Relationship Id="rId16" Type="http://schemas.openxmlformats.org/officeDocument/2006/relationships/image" Target="../media/image64.png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6" Type="http://schemas.openxmlformats.org/officeDocument/2006/relationships/image" Target="../media/image17.png"/><Relationship Id="rId7" Type="http://schemas.openxmlformats.org/officeDocument/2006/relationships/image" Target="../media/image58.png"/><Relationship Id="rId8" Type="http://schemas.openxmlformats.org/officeDocument/2006/relationships/image" Target="../media/image42.png"/><Relationship Id="rId9" Type="http://schemas.openxmlformats.org/officeDocument/2006/relationships/image" Target="../media/image59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10" Type="http://schemas.openxmlformats.org/officeDocument/2006/relationships/image" Target="../media/image67.png"/><Relationship Id="rId11" Type="http://schemas.openxmlformats.org/officeDocument/2006/relationships/image" Target="../media/image68.png"/><Relationship Id="rId12" Type="http://schemas.openxmlformats.org/officeDocument/2006/relationships/image" Target="../media/image64.png"/><Relationship Id="rId13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3" Type="http://schemas.openxmlformats.org/officeDocument/2006/relationships/notesSlide" Target="../notesSlides/notesSlide9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17.png"/><Relationship Id="rId7" Type="http://schemas.openxmlformats.org/officeDocument/2006/relationships/image" Target="../media/image65.png"/><Relationship Id="rId8" Type="http://schemas.openxmlformats.org/officeDocument/2006/relationships/image" Target="../media/image21.png"/><Relationship Id="rId9" Type="http://schemas.openxmlformats.org/officeDocument/2006/relationships/image" Target="../media/image6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432ED7-A1EA-D04A-89F0-C8BDEFDBB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58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9" name="Google Shape;319;p1"/>
          <p:cNvSpPr txBox="1">
            <a:spLocks noGrp="1"/>
          </p:cNvSpPr>
          <p:nvPr>
            <p:ph type="ctrTitle"/>
          </p:nvPr>
        </p:nvSpPr>
        <p:spPr>
          <a:xfrm>
            <a:off x="1603960" y="362026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Font typeface="Franklin Gothic"/>
              <a:buNone/>
            </a:pPr>
            <a:r>
              <a:rPr lang="fr-FR" sz="7200" dirty="0"/>
              <a:t>Who’s </a:t>
            </a:r>
            <a:r>
              <a:rPr lang="fr-FR" sz="7200" dirty="0" err="1"/>
              <a:t>Who</a:t>
            </a:r>
            <a:endParaRPr dirty="0"/>
          </a:p>
        </p:txBody>
      </p:sp>
      <p:sp>
        <p:nvSpPr>
          <p:cNvPr id="320" name="TextBox 319"/>
          <p:cNvSpPr txBox="1"/>
          <p:nvPr/>
        </p:nvSpPr>
        <p:spPr>
          <a:xfrm>
            <a:off x="1588" y="3196"/>
            <a:ext cx="1588" cy="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3000" b="1">
                <a:solidFill>
                  <a:srgbClr val="FFFFFF"/>
                </a:solidFill>
              </a:defRPr>
            </a:pPr>
            <a:r>
              <a:t>January 20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A10ADF-F07E-8824-9291-DAEA35B40B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245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4" name="Google Shape;724;p12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25" name="Google Shape;725;p1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Office Admin Team</a:t>
            </a:r>
            <a:endParaRPr dirty="0"/>
          </a:p>
        </p:txBody>
      </p:sp>
      <p:sp>
        <p:nvSpPr>
          <p:cNvPr id="726" name="Google Shape;726;p12"/>
          <p:cNvSpPr/>
          <p:nvPr/>
        </p:nvSpPr>
        <p:spPr>
          <a:xfrm>
            <a:off x="6931024" y="2005337"/>
            <a:ext cx="4707467" cy="409855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 life events planning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neral services management (e.g. clean desk, maintenance, management of cleaning force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curity &amp; Safety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om &amp; VC booking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rier planning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ring and every-day lunch orders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k-up &amp; transfer management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ministrative procedures support (e.g. taxes, VISA, work permit, mobility program).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XA enrollment &amp; contribution retrieval (Casa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vel perk booking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ifts purchases (work anniversaries and events etc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27" name="Google Shape;727;p12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28" name="Google Shape;728;p12"/>
          <p:cNvSpPr/>
          <p:nvPr/>
        </p:nvSpPr>
        <p:spPr>
          <a:xfrm>
            <a:off x="8267793" y="15575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9" name="Google Shape;729;p12"/>
          <p:cNvSpPr/>
          <p:nvPr/>
        </p:nvSpPr>
        <p:spPr>
          <a:xfrm>
            <a:off x="2330476" y="15575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4" name="Google Shape;734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026710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5" name="Google Shape;735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406418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6" name="Google Shape;736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953917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7" name="Google Shape;737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3297369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8" name="Google Shape;738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3617854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9" name="Google Shape;739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3965988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0" name="Google Shape;740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4309440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1" name="Google Shape;741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4652892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2" name="Google Shape;742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208326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3" name="Google Shape;743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571605"/>
            <a:ext cx="220544" cy="220544"/>
          </a:xfrm>
          <a:prstGeom prst="rect">
            <a:avLst/>
          </a:prstGeom>
          <a:noFill/>
          <a:ln>
            <a:noFill/>
          </a:ln>
        </p:spPr>
      </p:pic>
      <p:sp>
        <p:nvSpPr>
          <p:cNvPr id="744" name="Google Shape;744;p1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0</a:t>
            </a:fld>
            <a:endParaRPr/>
          </a:p>
        </p:txBody>
      </p:sp>
      <p:pic>
        <p:nvPicPr>
          <p:cNvPr id="745" name="Google Shape;745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876744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6" name="Picture 745" descr="ipp_abdelrahman_shehata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2011680"/>
            <a:ext cx="640080" cy="640080"/>
          </a:xfrm>
          <a:prstGeom prst="rect">
            <a:avLst/>
          </a:prstGeom>
        </p:spPr>
      </p:pic>
      <p:sp>
        <p:nvSpPr>
          <p:cNvPr id="747" name="TextBox 746"/>
          <p:cNvSpPr txBox="1"/>
          <p:nvPr/>
        </p:nvSpPr>
        <p:spPr>
          <a:xfrm>
            <a:off x="457200" y="2438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Abdelrahman Shehata</a:t>
            </a:r>
            <a:br/>
            <a:r>
              <a:t>Office</a:t>
            </a:r>
            <a:br/>
            <a:r>
              <a:t>Assistant</a:t>
            </a:r>
          </a:p>
        </p:txBody>
      </p:sp>
      <p:sp>
        <p:nvSpPr>
          <p:cNvPr id="748" name="TextBox 747"/>
          <p:cNvSpPr txBox="1"/>
          <p:nvPr/>
        </p:nvSpPr>
        <p:spPr>
          <a:xfrm>
            <a:off x="457200" y="2316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49" name="Picture 748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220" y="3291840"/>
            <a:ext cx="256032" cy="168442"/>
          </a:xfrm>
          <a:prstGeom prst="rect">
            <a:avLst/>
          </a:prstGeom>
        </p:spPr>
      </p:pic>
      <p:pic>
        <p:nvPicPr>
          <p:cNvPr id="750" name="Picture 749" descr="ipp_afaf_ibrahi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2011680"/>
            <a:ext cx="640080" cy="640080"/>
          </a:xfrm>
          <a:prstGeom prst="rect">
            <a:avLst/>
          </a:prstGeom>
        </p:spPr>
      </p:pic>
      <p:sp>
        <p:nvSpPr>
          <p:cNvPr id="751" name="TextBox 750"/>
          <p:cNvSpPr txBox="1"/>
          <p:nvPr/>
        </p:nvSpPr>
        <p:spPr>
          <a:xfrm>
            <a:off x="1371600" y="2438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faf </a:t>
            </a:r>
            <a:br/>
            <a:r>
              <a:t>Ibrahim</a:t>
            </a:r>
            <a:br/>
            <a:r>
              <a:t>Cleaning lady</a:t>
            </a:r>
          </a:p>
        </p:txBody>
      </p:sp>
      <p:sp>
        <p:nvSpPr>
          <p:cNvPr id="752" name="TextBox 751"/>
          <p:cNvSpPr txBox="1"/>
          <p:nvPr/>
        </p:nvSpPr>
        <p:spPr>
          <a:xfrm>
            <a:off x="1371600" y="2316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53" name="Picture 752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620" y="3291840"/>
            <a:ext cx="256032" cy="168442"/>
          </a:xfrm>
          <a:prstGeom prst="rect">
            <a:avLst/>
          </a:prstGeom>
        </p:spPr>
      </p:pic>
      <p:pic>
        <p:nvPicPr>
          <p:cNvPr id="754" name="Picture 753" descr="ipp_maha_sharaf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2011680"/>
            <a:ext cx="640080" cy="640080"/>
          </a:xfrm>
          <a:prstGeom prst="rect">
            <a:avLst/>
          </a:prstGeom>
        </p:spPr>
      </p:pic>
      <p:sp>
        <p:nvSpPr>
          <p:cNvPr id="755" name="TextBox 754"/>
          <p:cNvSpPr txBox="1"/>
          <p:nvPr/>
        </p:nvSpPr>
        <p:spPr>
          <a:xfrm>
            <a:off x="2286000" y="2438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ha </a:t>
            </a:r>
            <a:br/>
            <a:r>
              <a:t>Sharaf</a:t>
            </a:r>
            <a:br/>
            <a:r>
              <a:t>Cleaning lady</a:t>
            </a:r>
          </a:p>
        </p:txBody>
      </p:sp>
      <p:sp>
        <p:nvSpPr>
          <p:cNvPr id="756" name="TextBox 755"/>
          <p:cNvSpPr txBox="1"/>
          <p:nvPr/>
        </p:nvSpPr>
        <p:spPr>
          <a:xfrm>
            <a:off x="2286000" y="2316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57" name="Picture 756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6020" y="3291840"/>
            <a:ext cx="256032" cy="168442"/>
          </a:xfrm>
          <a:prstGeom prst="rect">
            <a:avLst/>
          </a:prstGeom>
        </p:spPr>
      </p:pic>
      <p:pic>
        <p:nvPicPr>
          <p:cNvPr id="758" name="Picture 757" descr="ipp_mohamed_el_nokrashy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200" y="3383280"/>
            <a:ext cx="640080" cy="640080"/>
          </a:xfrm>
          <a:prstGeom prst="rect">
            <a:avLst/>
          </a:prstGeom>
        </p:spPr>
      </p:pic>
      <p:sp>
        <p:nvSpPr>
          <p:cNvPr id="759" name="TextBox 758"/>
          <p:cNvSpPr txBox="1"/>
          <p:nvPr/>
        </p:nvSpPr>
        <p:spPr>
          <a:xfrm>
            <a:off x="457200" y="3810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ohamed El </a:t>
            </a:r>
            <a:br/>
            <a:r>
              <a:t>Nokrashy</a:t>
            </a:r>
            <a:br/>
            <a:r>
              <a:t>Office</a:t>
            </a:r>
            <a:br/>
            <a:r>
              <a:t>Senior Manager</a:t>
            </a:r>
          </a:p>
        </p:txBody>
      </p:sp>
      <p:sp>
        <p:nvSpPr>
          <p:cNvPr id="760" name="TextBox 759"/>
          <p:cNvSpPr txBox="1"/>
          <p:nvPr/>
        </p:nvSpPr>
        <p:spPr>
          <a:xfrm>
            <a:off x="457200" y="3688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1" name="Picture 760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220" y="4663440"/>
            <a:ext cx="256032" cy="168442"/>
          </a:xfrm>
          <a:prstGeom prst="rect">
            <a:avLst/>
          </a:prstGeom>
        </p:spPr>
      </p:pic>
      <p:pic>
        <p:nvPicPr>
          <p:cNvPr id="762" name="Picture 761" descr="ipp_aicha_elhor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71600" y="3383280"/>
            <a:ext cx="640080" cy="640080"/>
          </a:xfrm>
          <a:prstGeom prst="rect">
            <a:avLst/>
          </a:prstGeom>
        </p:spPr>
      </p:pic>
      <p:sp>
        <p:nvSpPr>
          <p:cNvPr id="763" name="TextBox 762"/>
          <p:cNvSpPr txBox="1"/>
          <p:nvPr/>
        </p:nvSpPr>
        <p:spPr>
          <a:xfrm>
            <a:off x="1371600" y="3810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icha </a:t>
            </a:r>
            <a:br/>
            <a:r>
              <a:t>Elhor</a:t>
            </a:r>
            <a:br/>
            <a:r>
              <a:t>Cleaning lady</a:t>
            </a:r>
          </a:p>
        </p:txBody>
      </p:sp>
      <p:sp>
        <p:nvSpPr>
          <p:cNvPr id="764" name="TextBox 763"/>
          <p:cNvSpPr txBox="1"/>
          <p:nvPr/>
        </p:nvSpPr>
        <p:spPr>
          <a:xfrm>
            <a:off x="1371600" y="3688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5" name="Picture 764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31620" y="4663440"/>
            <a:ext cx="256032" cy="168442"/>
          </a:xfrm>
          <a:prstGeom prst="rect">
            <a:avLst/>
          </a:prstGeom>
        </p:spPr>
      </p:pic>
      <p:pic>
        <p:nvPicPr>
          <p:cNvPr id="766" name="Picture 765" descr="ipp_fatema_atoufi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286000" y="3383280"/>
            <a:ext cx="640080" cy="640080"/>
          </a:xfrm>
          <a:prstGeom prst="rect">
            <a:avLst/>
          </a:prstGeom>
        </p:spPr>
      </p:pic>
      <p:sp>
        <p:nvSpPr>
          <p:cNvPr id="767" name="TextBox 766"/>
          <p:cNvSpPr txBox="1"/>
          <p:nvPr/>
        </p:nvSpPr>
        <p:spPr>
          <a:xfrm>
            <a:off x="2286000" y="3810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tema </a:t>
            </a:r>
            <a:br/>
            <a:r>
              <a:t>Atoufi</a:t>
            </a:r>
            <a:br/>
            <a:r>
              <a:t>Cleaning lady</a:t>
            </a:r>
          </a:p>
        </p:txBody>
      </p:sp>
      <p:sp>
        <p:nvSpPr>
          <p:cNvPr id="768" name="TextBox 767"/>
          <p:cNvSpPr txBox="1"/>
          <p:nvPr/>
        </p:nvSpPr>
        <p:spPr>
          <a:xfrm>
            <a:off x="2286000" y="3688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9" name="Picture 768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46020" y="4663440"/>
            <a:ext cx="256032" cy="168442"/>
          </a:xfrm>
          <a:prstGeom prst="rect">
            <a:avLst/>
          </a:prstGeom>
        </p:spPr>
      </p:pic>
      <p:pic>
        <p:nvPicPr>
          <p:cNvPr id="770" name="Picture 769" descr="ipp_hassan_fajouni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" y="4754880"/>
            <a:ext cx="640080" cy="640080"/>
          </a:xfrm>
          <a:prstGeom prst="rect">
            <a:avLst/>
          </a:prstGeom>
        </p:spPr>
      </p:pic>
      <p:sp>
        <p:nvSpPr>
          <p:cNvPr id="771" name="TextBox 770"/>
          <p:cNvSpPr txBox="1"/>
          <p:nvPr/>
        </p:nvSpPr>
        <p:spPr>
          <a:xfrm>
            <a:off x="4572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ssan </a:t>
            </a:r>
            <a:br/>
            <a:r>
              <a:t>Fajouni</a:t>
            </a:r>
            <a:br/>
            <a:r>
              <a:t>Office</a:t>
            </a:r>
            <a:br/>
            <a:r>
              <a:t>Assistant</a:t>
            </a:r>
          </a:p>
        </p:txBody>
      </p:sp>
      <p:sp>
        <p:nvSpPr>
          <p:cNvPr id="772" name="TextBox 771"/>
          <p:cNvSpPr txBox="1"/>
          <p:nvPr/>
        </p:nvSpPr>
        <p:spPr>
          <a:xfrm>
            <a:off x="4572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73" name="Picture 772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7220" y="6035040"/>
            <a:ext cx="256032" cy="168442"/>
          </a:xfrm>
          <a:prstGeom prst="rect">
            <a:avLst/>
          </a:prstGeom>
        </p:spPr>
      </p:pic>
      <p:pic>
        <p:nvPicPr>
          <p:cNvPr id="774" name="Picture 773" descr="ipp_kawtar_ait_el_berrah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71600" y="4754880"/>
            <a:ext cx="640080" cy="640080"/>
          </a:xfrm>
          <a:prstGeom prst="rect">
            <a:avLst/>
          </a:prstGeom>
        </p:spPr>
      </p:pic>
      <p:sp>
        <p:nvSpPr>
          <p:cNvPr id="775" name="TextBox 774"/>
          <p:cNvSpPr txBox="1"/>
          <p:nvPr/>
        </p:nvSpPr>
        <p:spPr>
          <a:xfrm>
            <a:off x="13716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Kawtar Ait </a:t>
            </a:r>
            <a:br/>
            <a:r>
              <a:t>El Berrah</a:t>
            </a:r>
            <a:br/>
            <a:r>
              <a:t>Office</a:t>
            </a:r>
            <a:br/>
            <a:r>
              <a:t>Management Representative</a:t>
            </a:r>
          </a:p>
        </p:txBody>
      </p:sp>
      <p:sp>
        <p:nvSpPr>
          <p:cNvPr id="776" name="TextBox 775"/>
          <p:cNvSpPr txBox="1"/>
          <p:nvPr/>
        </p:nvSpPr>
        <p:spPr>
          <a:xfrm>
            <a:off x="13716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77" name="Picture 776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31620" y="6035040"/>
            <a:ext cx="256032" cy="168442"/>
          </a:xfrm>
          <a:prstGeom prst="rect">
            <a:avLst/>
          </a:prstGeom>
        </p:spPr>
      </p:pic>
      <p:pic>
        <p:nvPicPr>
          <p:cNvPr id="778" name="Picture 777" descr="test_pic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86000" y="4754880"/>
            <a:ext cx="640080" cy="640080"/>
          </a:xfrm>
          <a:prstGeom prst="rect">
            <a:avLst/>
          </a:prstGeom>
        </p:spPr>
      </p:pic>
      <p:sp>
        <p:nvSpPr>
          <p:cNvPr id="779" name="TextBox 778"/>
          <p:cNvSpPr txBox="1"/>
          <p:nvPr/>
        </p:nvSpPr>
        <p:spPr>
          <a:xfrm>
            <a:off x="22860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Nawal </a:t>
            </a:r>
            <a:br/>
            <a:r>
              <a:t>Hajjaj</a:t>
            </a:r>
            <a:br/>
            <a:r>
              <a:t>Cleaning lady</a:t>
            </a:r>
          </a:p>
        </p:txBody>
      </p:sp>
      <p:sp>
        <p:nvSpPr>
          <p:cNvPr id="780" name="TextBox 779"/>
          <p:cNvSpPr txBox="1"/>
          <p:nvPr/>
        </p:nvSpPr>
        <p:spPr>
          <a:xfrm>
            <a:off x="22860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1" name="Picture 780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46020" y="6035040"/>
            <a:ext cx="256032" cy="168442"/>
          </a:xfrm>
          <a:prstGeom prst="rect">
            <a:avLst/>
          </a:prstGeom>
        </p:spPr>
      </p:pic>
      <p:pic>
        <p:nvPicPr>
          <p:cNvPr id="782" name="Picture 781" descr="test_pic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57200" y="6126480"/>
            <a:ext cx="640080" cy="640080"/>
          </a:xfrm>
          <a:prstGeom prst="rect">
            <a:avLst/>
          </a:prstGeom>
        </p:spPr>
      </p:pic>
      <p:sp>
        <p:nvSpPr>
          <p:cNvPr id="783" name="TextBox 782"/>
          <p:cNvSpPr txBox="1"/>
          <p:nvPr/>
        </p:nvSpPr>
        <p:spPr>
          <a:xfrm>
            <a:off x="457200" y="65532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Youssef </a:t>
            </a:r>
            <a:br/>
            <a:r>
              <a:t>Essalhi</a:t>
            </a:r>
            <a:br/>
            <a:r>
              <a:t>polyvalent</a:t>
            </a:r>
            <a:br/>
            <a:r>
              <a:t>agent</a:t>
            </a:r>
          </a:p>
        </p:txBody>
      </p:sp>
      <p:sp>
        <p:nvSpPr>
          <p:cNvPr id="784" name="TextBox 783"/>
          <p:cNvSpPr txBox="1"/>
          <p:nvPr/>
        </p:nvSpPr>
        <p:spPr>
          <a:xfrm>
            <a:off x="457200" y="6431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5" name="Picture 784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7220" y="7406640"/>
            <a:ext cx="256032" cy="168442"/>
          </a:xfrm>
          <a:prstGeom prst="rect">
            <a:avLst/>
          </a:prstGeom>
        </p:spPr>
      </p:pic>
      <p:pic>
        <p:nvPicPr>
          <p:cNvPr id="786" name="Picture 785" descr="ipp_zineb_douah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371600" y="6126480"/>
            <a:ext cx="640080" cy="640080"/>
          </a:xfrm>
          <a:prstGeom prst="rect">
            <a:avLst/>
          </a:prstGeom>
        </p:spPr>
      </p:pic>
      <p:sp>
        <p:nvSpPr>
          <p:cNvPr id="787" name="TextBox 786"/>
          <p:cNvSpPr txBox="1"/>
          <p:nvPr/>
        </p:nvSpPr>
        <p:spPr>
          <a:xfrm>
            <a:off x="1371600" y="65532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Zineb </a:t>
            </a:r>
            <a:br/>
            <a:r>
              <a:t>Douah</a:t>
            </a:r>
            <a:br/>
            <a:r>
              <a:t>Office Lead</a:t>
            </a:r>
          </a:p>
        </p:txBody>
      </p:sp>
      <p:sp>
        <p:nvSpPr>
          <p:cNvPr id="788" name="TextBox 787"/>
          <p:cNvSpPr txBox="1"/>
          <p:nvPr/>
        </p:nvSpPr>
        <p:spPr>
          <a:xfrm>
            <a:off x="1371600" y="6431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9" name="Picture 788" descr="image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31620" y="7406640"/>
            <a:ext cx="256032" cy="168442"/>
          </a:xfrm>
          <a:prstGeom prst="rect">
            <a:avLst/>
          </a:prstGeom>
        </p:spPr>
      </p:pic>
      <p:pic>
        <p:nvPicPr>
          <p:cNvPr id="790" name="Picture 789" descr="test_pic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86000" y="6126480"/>
            <a:ext cx="640080" cy="640080"/>
          </a:xfrm>
          <a:prstGeom prst="rect">
            <a:avLst/>
          </a:prstGeom>
        </p:spPr>
      </p:pic>
      <p:sp>
        <p:nvSpPr>
          <p:cNvPr id="791" name="TextBox 790"/>
          <p:cNvSpPr txBox="1"/>
          <p:nvPr/>
        </p:nvSpPr>
        <p:spPr>
          <a:xfrm>
            <a:off x="2286000" y="65532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onalyn </a:t>
            </a:r>
            <a:br/>
            <a:r>
              <a:t>Taparan</a:t>
            </a:r>
            <a:br/>
            <a:r>
              <a:t>Office</a:t>
            </a:r>
            <a:br/>
            <a:r>
              <a:t>Assistant</a:t>
            </a:r>
          </a:p>
        </p:txBody>
      </p:sp>
      <p:sp>
        <p:nvSpPr>
          <p:cNvPr id="792" name="TextBox 791"/>
          <p:cNvSpPr txBox="1"/>
          <p:nvPr/>
        </p:nvSpPr>
        <p:spPr>
          <a:xfrm>
            <a:off x="2286000" y="6431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93" name="Picture 792" descr="UAE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446020" y="7406640"/>
            <a:ext cx="256032" cy="168442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" name="Google Shape;1136;p46" descr="A picture containing bed, man, white, ca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28"/>
            <a:ext cx="3478534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1137" name="Google Shape;1137;p46"/>
          <p:cNvSpPr/>
          <p:nvPr/>
        </p:nvSpPr>
        <p:spPr>
          <a:xfrm>
            <a:off x="0" y="-1"/>
            <a:ext cx="3478533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8" name="Google Shape;1138;p46"/>
          <p:cNvSpPr/>
          <p:nvPr/>
        </p:nvSpPr>
        <p:spPr>
          <a:xfrm>
            <a:off x="3578873" y="1194486"/>
            <a:ext cx="2125612" cy="312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777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None/>
            </a:pP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Composed of generalists' profiles working with the different MCK offices all around the worl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Align the staffing based on the sectors covered (Finance, Public sector, Energy, etc. 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Support the client both on short and long reques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Main clients / users are from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-  The Middle East (UAE, KSA, and   Egypt),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-Europe (France, Iberia, Benelux, UK, Poland, etc.),    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-Africa (Morocco, South Africa, Kenya, Nigeria, Angola, ..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 -ROW (USA, Canada, India, Pakistan)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9" name="Google Shape;1139;p46"/>
          <p:cNvSpPr txBox="1"/>
          <p:nvPr/>
        </p:nvSpPr>
        <p:spPr>
          <a:xfrm>
            <a:off x="12062097" y="1179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40" name="Google Shape;1140;p46"/>
          <p:cNvGrpSpPr/>
          <p:nvPr/>
        </p:nvGrpSpPr>
        <p:grpSpPr>
          <a:xfrm>
            <a:off x="5719033" y="1194486"/>
            <a:ext cx="3580018" cy="3385906"/>
            <a:chOff x="6838838" y="2506636"/>
            <a:chExt cx="3580348" cy="3351426"/>
          </a:xfrm>
        </p:grpSpPr>
        <p:sp>
          <p:nvSpPr>
            <p:cNvPr id="1141" name="Google Shape;1141;p46"/>
            <p:cNvSpPr/>
            <p:nvPr/>
          </p:nvSpPr>
          <p:spPr>
            <a:xfrm rot="10800000">
              <a:off x="8628979" y="2506918"/>
              <a:ext cx="1790207" cy="1875438"/>
            </a:xfrm>
            <a:custGeom>
              <a:avLst/>
              <a:gdLst/>
              <a:ahLst/>
              <a:cxnLst/>
              <a:rect l="l" t="t" r="r" b="b"/>
              <a:pathLst>
                <a:path w="1969988" h="2063779" extrusionOk="0">
                  <a:moveTo>
                    <a:pt x="1969933" y="600391"/>
                  </a:moveTo>
                  <a:cubicBezTo>
                    <a:pt x="1943198" y="542426"/>
                    <a:pt x="1911292" y="487320"/>
                    <a:pt x="1874765" y="435789"/>
                  </a:cubicBezTo>
                  <a:cubicBezTo>
                    <a:pt x="1705057" y="196446"/>
                    <a:pt x="1435834" y="32613"/>
                    <a:pt x="1127444" y="4400"/>
                  </a:cubicBezTo>
                  <a:cubicBezTo>
                    <a:pt x="1096088" y="1540"/>
                    <a:pt x="1064292" y="0"/>
                    <a:pt x="1032166" y="0"/>
                  </a:cubicBezTo>
                  <a:cubicBezTo>
                    <a:pt x="462145" y="0"/>
                    <a:pt x="0" y="461966"/>
                    <a:pt x="0" y="1031890"/>
                  </a:cubicBezTo>
                  <a:cubicBezTo>
                    <a:pt x="0" y="1601758"/>
                    <a:pt x="462090" y="2063780"/>
                    <a:pt x="1032166" y="2063780"/>
                  </a:cubicBezTo>
                  <a:cubicBezTo>
                    <a:pt x="1448102" y="2063780"/>
                    <a:pt x="1806552" y="1817783"/>
                    <a:pt x="1969988" y="1463333"/>
                  </a:cubicBezTo>
                  <a:cubicBezTo>
                    <a:pt x="1840108" y="1182139"/>
                    <a:pt x="1847424" y="867067"/>
                    <a:pt x="1969933" y="600391"/>
                  </a:cubicBezTo>
                  <a:close/>
                </a:path>
              </a:pathLst>
            </a:custGeom>
            <a:solidFill>
              <a:srgbClr val="66D5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2" name="Google Shape;1142;p46"/>
            <p:cNvSpPr/>
            <p:nvPr/>
          </p:nvSpPr>
          <p:spPr>
            <a:xfrm rot="10800000">
              <a:off x="8663923" y="2572539"/>
              <a:ext cx="1689625" cy="1744098"/>
            </a:xfrm>
            <a:custGeom>
              <a:avLst/>
              <a:gdLst/>
              <a:ahLst/>
              <a:cxnLst/>
              <a:rect l="l" t="t" r="r" b="b"/>
              <a:pathLst>
                <a:path w="1859306" h="1919249" extrusionOk="0">
                  <a:moveTo>
                    <a:pt x="1859307" y="624094"/>
                  </a:moveTo>
                  <a:cubicBezTo>
                    <a:pt x="1723210" y="259636"/>
                    <a:pt x="1371912" y="0"/>
                    <a:pt x="959882" y="0"/>
                  </a:cubicBezTo>
                  <a:cubicBezTo>
                    <a:pt x="429744" y="0"/>
                    <a:pt x="0" y="429629"/>
                    <a:pt x="0" y="959625"/>
                  </a:cubicBezTo>
                  <a:cubicBezTo>
                    <a:pt x="0" y="1489621"/>
                    <a:pt x="429744" y="1919250"/>
                    <a:pt x="959882" y="1919250"/>
                  </a:cubicBezTo>
                  <a:cubicBezTo>
                    <a:pt x="1371912" y="1919250"/>
                    <a:pt x="1723155" y="1659669"/>
                    <a:pt x="1859307" y="1295266"/>
                  </a:cubicBezTo>
                  <a:cubicBezTo>
                    <a:pt x="1782732" y="1073687"/>
                    <a:pt x="1786087" y="837424"/>
                    <a:pt x="1859307" y="624094"/>
                  </a:cubicBezTo>
                  <a:close/>
                </a:path>
              </a:pathLst>
            </a:custGeom>
            <a:gradFill>
              <a:gsLst>
                <a:gs pos="0">
                  <a:srgbClr val="CCF1FF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3" name="Google Shape;1143;p46"/>
            <p:cNvSpPr/>
            <p:nvPr/>
          </p:nvSpPr>
          <p:spPr>
            <a:xfrm rot="10800000">
              <a:off x="6838838" y="2506636"/>
              <a:ext cx="1876150" cy="1875729"/>
            </a:xfrm>
            <a:custGeom>
              <a:avLst/>
              <a:gdLst/>
              <a:ahLst/>
              <a:cxnLst/>
              <a:rect l="l" t="t" r="r" b="b"/>
              <a:pathLst>
                <a:path w="2064561" h="2064099" extrusionOk="0">
                  <a:moveTo>
                    <a:pt x="1926116" y="516036"/>
                  </a:moveTo>
                  <a:cubicBezTo>
                    <a:pt x="1718176" y="155977"/>
                    <a:pt x="1325950" y="-31339"/>
                    <a:pt x="937354" y="4298"/>
                  </a:cubicBezTo>
                  <a:cubicBezTo>
                    <a:pt x="853903" y="122430"/>
                    <a:pt x="744156" y="224832"/>
                    <a:pt x="610646" y="301937"/>
                  </a:cubicBezTo>
                  <a:cubicBezTo>
                    <a:pt x="477135" y="378986"/>
                    <a:pt x="333556" y="422763"/>
                    <a:pt x="189483" y="436017"/>
                  </a:cubicBezTo>
                  <a:cubicBezTo>
                    <a:pt x="152682" y="488043"/>
                    <a:pt x="120995" y="543149"/>
                    <a:pt x="94645" y="600510"/>
                  </a:cubicBezTo>
                  <a:cubicBezTo>
                    <a:pt x="-27864" y="867185"/>
                    <a:pt x="-35180" y="1182202"/>
                    <a:pt x="94645" y="1463397"/>
                  </a:cubicBezTo>
                  <a:cubicBezTo>
                    <a:pt x="107848" y="1491940"/>
                    <a:pt x="122371" y="1520208"/>
                    <a:pt x="138379" y="1547981"/>
                  </a:cubicBezTo>
                  <a:cubicBezTo>
                    <a:pt x="423389" y="2041515"/>
                    <a:pt x="1054637" y="2210627"/>
                    <a:pt x="1548358" y="1925693"/>
                  </a:cubicBezTo>
                  <a:cubicBezTo>
                    <a:pt x="2041969" y="1640649"/>
                    <a:pt x="2211127" y="1009570"/>
                    <a:pt x="1926116" y="5160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4" name="Google Shape;1144;p46"/>
            <p:cNvSpPr/>
            <p:nvPr/>
          </p:nvSpPr>
          <p:spPr>
            <a:xfrm rot="10800000">
              <a:off x="6904509" y="2572339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905916" y="0"/>
                    <a:pt x="852886" y="4730"/>
                    <a:pt x="801176" y="13309"/>
                  </a:cubicBezTo>
                  <a:cubicBezTo>
                    <a:pt x="728122" y="97288"/>
                    <a:pt x="640215" y="170873"/>
                    <a:pt x="538390" y="229663"/>
                  </a:cubicBezTo>
                  <a:cubicBezTo>
                    <a:pt x="436510" y="288454"/>
                    <a:pt x="328744" y="327831"/>
                    <a:pt x="219383" y="349115"/>
                  </a:cubicBezTo>
                  <a:cubicBezTo>
                    <a:pt x="82351" y="515038"/>
                    <a:pt x="0" y="727817"/>
                    <a:pt x="0" y="959790"/>
                  </a:cubicBezTo>
                  <a:cubicBezTo>
                    <a:pt x="0" y="1489842"/>
                    <a:pt x="429799" y="1919580"/>
                    <a:pt x="960047" y="1919580"/>
                  </a:cubicBezTo>
                  <a:cubicBezTo>
                    <a:pt x="1490295" y="1919580"/>
                    <a:pt x="1920093" y="1489897"/>
                    <a:pt x="1920093" y="959790"/>
                  </a:cubicBezTo>
                  <a:cubicBezTo>
                    <a:pt x="1920093" y="429684"/>
                    <a:pt x="1490240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F2F2F2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5" name="Google Shape;1145;p46"/>
            <p:cNvSpPr/>
            <p:nvPr/>
          </p:nvSpPr>
          <p:spPr>
            <a:xfrm rot="10800000">
              <a:off x="7691020" y="3982296"/>
              <a:ext cx="1876212" cy="1875766"/>
            </a:xfrm>
            <a:custGeom>
              <a:avLst/>
              <a:gdLst/>
              <a:ahLst/>
              <a:cxnLst/>
              <a:rect l="l" t="t" r="r" b="b"/>
              <a:pathLst>
                <a:path w="2064631" h="2064139" extrusionOk="0">
                  <a:moveTo>
                    <a:pt x="937254" y="2059692"/>
                  </a:moveTo>
                  <a:cubicBezTo>
                    <a:pt x="1000131" y="2065576"/>
                    <a:pt x="1063779" y="2065631"/>
                    <a:pt x="1127261" y="2059802"/>
                  </a:cubicBezTo>
                  <a:cubicBezTo>
                    <a:pt x="1271334" y="2046603"/>
                    <a:pt x="1414912" y="2002826"/>
                    <a:pt x="1548423" y="1925722"/>
                  </a:cubicBezTo>
                  <a:cubicBezTo>
                    <a:pt x="1681934" y="1848672"/>
                    <a:pt x="1791680" y="1746215"/>
                    <a:pt x="1875132" y="1628083"/>
                  </a:cubicBezTo>
                  <a:cubicBezTo>
                    <a:pt x="2100291" y="1309437"/>
                    <a:pt x="2134122" y="876178"/>
                    <a:pt x="1926237" y="516119"/>
                  </a:cubicBezTo>
                  <a:cubicBezTo>
                    <a:pt x="1641226" y="22585"/>
                    <a:pt x="1009978" y="-146527"/>
                    <a:pt x="516257" y="138407"/>
                  </a:cubicBezTo>
                  <a:cubicBezTo>
                    <a:pt x="22591" y="423341"/>
                    <a:pt x="-146567" y="1054420"/>
                    <a:pt x="138444" y="1548009"/>
                  </a:cubicBezTo>
                  <a:cubicBezTo>
                    <a:pt x="154507" y="1575782"/>
                    <a:pt x="171725" y="1602510"/>
                    <a:pt x="189879" y="1628193"/>
                  </a:cubicBezTo>
                  <a:cubicBezTo>
                    <a:pt x="498324" y="1656516"/>
                    <a:pt x="767491" y="1820349"/>
                    <a:pt x="937254" y="20596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6" name="Google Shape;1146;p46"/>
            <p:cNvSpPr/>
            <p:nvPr/>
          </p:nvSpPr>
          <p:spPr>
            <a:xfrm rot="10800000">
              <a:off x="7756697" y="4047911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429854" y="0"/>
                    <a:pt x="0" y="429684"/>
                    <a:pt x="0" y="959790"/>
                  </a:cubicBezTo>
                  <a:cubicBezTo>
                    <a:pt x="0" y="1191818"/>
                    <a:pt x="82351" y="1404598"/>
                    <a:pt x="219438" y="1570520"/>
                  </a:cubicBezTo>
                  <a:cubicBezTo>
                    <a:pt x="449823" y="1615067"/>
                    <a:pt x="652867" y="1736113"/>
                    <a:pt x="801011" y="1906216"/>
                  </a:cubicBezTo>
                  <a:cubicBezTo>
                    <a:pt x="852776" y="1914850"/>
                    <a:pt x="905861" y="1919580"/>
                    <a:pt x="960047" y="1919580"/>
                  </a:cubicBezTo>
                  <a:cubicBezTo>
                    <a:pt x="1490240" y="1919580"/>
                    <a:pt x="1920093" y="1489841"/>
                    <a:pt x="1920093" y="959790"/>
                  </a:cubicBezTo>
                  <a:cubicBezTo>
                    <a:pt x="1920093" y="429739"/>
                    <a:pt x="1490295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CDD9FC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7" name="Google Shape;1147;p46"/>
            <p:cNvSpPr/>
            <p:nvPr/>
          </p:nvSpPr>
          <p:spPr>
            <a:xfrm>
              <a:off x="8067132" y="4506070"/>
              <a:ext cx="1287776" cy="822535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 dirty="0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IKT (Insight &amp; </a:t>
              </a:r>
              <a:r>
                <a:rPr lang="fr-FR" sz="1800" b="1" i="0" u="none" strike="noStrike" cap="none" dirty="0" err="1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Knowledge</a:t>
              </a:r>
              <a:r>
                <a:rPr lang="fr-FR" sz="1800" b="1" i="0" u="none" strike="noStrike" cap="none" dirty="0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) Team</a:t>
              </a:r>
              <a:endParaRPr sz="14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" name="Google Shape;1148;p46"/>
            <p:cNvSpPr/>
            <p:nvPr/>
          </p:nvSpPr>
          <p:spPr>
            <a:xfrm>
              <a:off x="7457604" y="3209932"/>
              <a:ext cx="609528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MCK</a:t>
              </a:r>
              <a:b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9" name="Google Shape;1149;p46"/>
            <p:cNvSpPr/>
            <p:nvPr/>
          </p:nvSpPr>
          <p:spPr>
            <a:xfrm>
              <a:off x="8911621" y="3154121"/>
              <a:ext cx="1209697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CG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0" name="Google Shape;1150;p46"/>
            <p:cNvSpPr txBox="1"/>
            <p:nvPr/>
          </p:nvSpPr>
          <p:spPr>
            <a:xfrm>
              <a:off x="9869320" y="5262646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1" name="Google Shape;1151;p46"/>
          <p:cNvSpPr/>
          <p:nvPr/>
        </p:nvSpPr>
        <p:spPr>
          <a:xfrm>
            <a:off x="6571136" y="4842092"/>
            <a:ext cx="2189544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Serves all of Infomineo’s clients that are not engaged in a big retain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Execute complex projects that require strong analytical skills and creativit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Deliver high value-added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Build diversified expertise to support a large number of clients with different needs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2" name="Google Shape;1152;p46"/>
          <p:cNvSpPr txBox="1"/>
          <p:nvPr/>
        </p:nvSpPr>
        <p:spPr>
          <a:xfrm>
            <a:off x="309875" y="2791755"/>
            <a:ext cx="2945132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fr-FR" sz="3200" b="0" i="0" u="none" strike="noStrike" cap="none" dirty="0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Infomineo </a:t>
            </a:r>
            <a:r>
              <a:rPr lang="fr-FR" sz="3200" b="0" i="0" u="none" strike="noStrike" cap="none" dirty="0" err="1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Research</a:t>
            </a:r>
            <a:r>
              <a:rPr lang="fr-FR" sz="3200" b="0" i="0" u="none" strike="noStrike" cap="none" dirty="0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 Team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" name="Google Shape;1153;p4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1</a:t>
            </a:fld>
            <a:endParaRPr/>
          </a:p>
        </p:txBody>
      </p:sp>
      <p:sp>
        <p:nvSpPr>
          <p:cNvPr id="1154" name="Google Shape;1154;p46"/>
          <p:cNvSpPr txBox="1"/>
          <p:nvPr/>
        </p:nvSpPr>
        <p:spPr>
          <a:xfrm>
            <a:off x="9281491" y="1312872"/>
            <a:ext cx="2770500" cy="38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Comprised of 3 different sub-teams focusing on different geographies (Europe &amp; Africa, Middle East, and KT Global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Each Team member having 30+ databases at their disposal incl. big names such as Euromonitor, Oxford Economics, BMI, Global Data, e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Working as a full off-site extension of the client research team capabilities with access to a big portion of BCG tools incl. email addresses &amp; slack communic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Researchers work directly with the case teams with no intermediaries, mainly on short engagements (4-8 hours) although long engagements lasting weeks are becoming more regula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Offers sectorial specialization in different topics incl. (Industrial goods, Technology, Public Sector, Healthcare, Consumer products, etc.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1EF53-9D72-409C-7EDE-FF0268C93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222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4" name="Google Shape;754;p4"/>
          <p:cNvSpPr txBox="1">
            <a:spLocks noGrp="1"/>
          </p:cNvSpPr>
          <p:nvPr>
            <p:ph type="title"/>
          </p:nvPr>
        </p:nvSpPr>
        <p:spPr>
          <a:xfrm>
            <a:off x="509222" y="59253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Business Research Leaders</a:t>
            </a:r>
            <a:endParaRPr lang="en-US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5" name="Google Shape;755;p4"/>
          <p:cNvSpPr txBox="1">
            <a:spLocks noGrp="1"/>
          </p:cNvSpPr>
          <p:nvPr>
            <p:ph type="sldNum" idx="12"/>
          </p:nvPr>
        </p:nvSpPr>
        <p:spPr>
          <a:xfrm>
            <a:off x="11993228" y="66814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2</a:t>
            </a:fld>
            <a:endParaRPr/>
          </a:p>
        </p:txBody>
      </p:sp>
      <p:sp>
        <p:nvSpPr>
          <p:cNvPr id="756" name="Google Shape;756;p4"/>
          <p:cNvSpPr txBox="1"/>
          <p:nvPr/>
        </p:nvSpPr>
        <p:spPr>
          <a:xfrm>
            <a:off x="1234410" y="19302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7" name="Picture 756" descr="ipp_abdelrahman_soliman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737360"/>
            <a:ext cx="640080" cy="640080"/>
          </a:xfrm>
          <a:prstGeom prst="rect">
            <a:avLst/>
          </a:prstGeom>
        </p:spPr>
      </p:pic>
      <p:sp>
        <p:nvSpPr>
          <p:cNvPr id="758" name="TextBox 757"/>
          <p:cNvSpPr txBox="1"/>
          <p:nvPr/>
        </p:nvSpPr>
        <p:spPr>
          <a:xfrm>
            <a:off x="4572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Abdelrahman Soliman</a:t>
            </a:r>
            <a:br/>
            <a:r>
              <a:t>Team Lead</a:t>
            </a:r>
          </a:p>
        </p:txBody>
      </p:sp>
      <p:sp>
        <p:nvSpPr>
          <p:cNvPr id="759" name="TextBox 758"/>
          <p:cNvSpPr txBox="1"/>
          <p:nvPr/>
        </p:nvSpPr>
        <p:spPr>
          <a:xfrm>
            <a:off x="4572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0" name="Picture 75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220" y="3017520"/>
            <a:ext cx="256032" cy="168442"/>
          </a:xfrm>
          <a:prstGeom prst="rect">
            <a:avLst/>
          </a:prstGeom>
        </p:spPr>
      </p:pic>
      <p:pic>
        <p:nvPicPr>
          <p:cNvPr id="761" name="Picture 760" descr="ipp_ahmed_dessouki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640080" cy="640080"/>
          </a:xfrm>
          <a:prstGeom prst="rect">
            <a:avLst/>
          </a:prstGeom>
        </p:spPr>
      </p:pic>
      <p:sp>
        <p:nvSpPr>
          <p:cNvPr id="762" name="TextBox 761"/>
          <p:cNvSpPr txBox="1"/>
          <p:nvPr/>
        </p:nvSpPr>
        <p:spPr>
          <a:xfrm>
            <a:off x="13716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</a:t>
            </a:r>
            <a:br/>
            <a:r>
              <a:t>Dessouki</a:t>
            </a:r>
            <a:br/>
            <a:r>
              <a:t>Team Lead</a:t>
            </a:r>
          </a:p>
        </p:txBody>
      </p:sp>
      <p:sp>
        <p:nvSpPr>
          <p:cNvPr id="763" name="TextBox 762"/>
          <p:cNvSpPr txBox="1"/>
          <p:nvPr/>
        </p:nvSpPr>
        <p:spPr>
          <a:xfrm>
            <a:off x="13716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4" name="Picture 76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1620" y="3017520"/>
            <a:ext cx="256032" cy="168442"/>
          </a:xfrm>
          <a:prstGeom prst="rect">
            <a:avLst/>
          </a:prstGeom>
        </p:spPr>
      </p:pic>
      <p:pic>
        <p:nvPicPr>
          <p:cNvPr id="765" name="Picture 764" descr="ipp_ahmed_el_deeb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640080" cy="640080"/>
          </a:xfrm>
          <a:prstGeom prst="rect">
            <a:avLst/>
          </a:prstGeom>
        </p:spPr>
      </p:pic>
      <p:sp>
        <p:nvSpPr>
          <p:cNvPr id="766" name="TextBox 765"/>
          <p:cNvSpPr txBox="1"/>
          <p:nvPr/>
        </p:nvSpPr>
        <p:spPr>
          <a:xfrm>
            <a:off x="22860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</a:t>
            </a:r>
            <a:br/>
            <a:r>
              <a:t>El Deeb</a:t>
            </a:r>
            <a:br/>
            <a:r>
              <a:t>Manager</a:t>
            </a:r>
          </a:p>
        </p:txBody>
      </p:sp>
      <p:sp>
        <p:nvSpPr>
          <p:cNvPr id="767" name="TextBox 766"/>
          <p:cNvSpPr txBox="1"/>
          <p:nvPr/>
        </p:nvSpPr>
        <p:spPr>
          <a:xfrm>
            <a:off x="22860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68" name="Picture 76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46020" y="3017520"/>
            <a:ext cx="256032" cy="168442"/>
          </a:xfrm>
          <a:prstGeom prst="rect">
            <a:avLst/>
          </a:prstGeom>
        </p:spPr>
      </p:pic>
      <p:pic>
        <p:nvPicPr>
          <p:cNvPr id="769" name="Picture 768" descr="ipp_ahmed_el_guindy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0400" y="1737360"/>
            <a:ext cx="640080" cy="640080"/>
          </a:xfrm>
          <a:prstGeom prst="rect">
            <a:avLst/>
          </a:prstGeom>
        </p:spPr>
      </p:pic>
      <p:sp>
        <p:nvSpPr>
          <p:cNvPr id="770" name="TextBox 769"/>
          <p:cNvSpPr txBox="1"/>
          <p:nvPr/>
        </p:nvSpPr>
        <p:spPr>
          <a:xfrm>
            <a:off x="32004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El </a:t>
            </a:r>
            <a:br/>
            <a:r>
              <a:t>Guindy</a:t>
            </a:r>
            <a:br/>
            <a:r>
              <a:t>Manager</a:t>
            </a:r>
          </a:p>
        </p:txBody>
      </p:sp>
      <p:sp>
        <p:nvSpPr>
          <p:cNvPr id="771" name="TextBox 770"/>
          <p:cNvSpPr txBox="1"/>
          <p:nvPr/>
        </p:nvSpPr>
        <p:spPr>
          <a:xfrm>
            <a:off x="32004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72" name="Picture 77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0420" y="3017520"/>
            <a:ext cx="256032" cy="168442"/>
          </a:xfrm>
          <a:prstGeom prst="rect">
            <a:avLst/>
          </a:prstGeom>
        </p:spPr>
      </p:pic>
      <p:pic>
        <p:nvPicPr>
          <p:cNvPr id="773" name="Picture 772" descr="ipp_antonio_pilogallo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4800" y="1737360"/>
            <a:ext cx="640080" cy="640080"/>
          </a:xfrm>
          <a:prstGeom prst="rect">
            <a:avLst/>
          </a:prstGeom>
        </p:spPr>
      </p:pic>
      <p:sp>
        <p:nvSpPr>
          <p:cNvPr id="774" name="TextBox 773"/>
          <p:cNvSpPr txBox="1"/>
          <p:nvPr/>
        </p:nvSpPr>
        <p:spPr>
          <a:xfrm>
            <a:off x="41148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ntonio </a:t>
            </a:r>
            <a:br/>
            <a:r>
              <a:t>Pilogallo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775" name="TextBox 774"/>
          <p:cNvSpPr txBox="1"/>
          <p:nvPr/>
        </p:nvSpPr>
        <p:spPr>
          <a:xfrm>
            <a:off x="41148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76" name="Picture 77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74820" y="3017520"/>
            <a:ext cx="256032" cy="168442"/>
          </a:xfrm>
          <a:prstGeom prst="rect">
            <a:avLst/>
          </a:prstGeom>
        </p:spPr>
      </p:pic>
      <p:pic>
        <p:nvPicPr>
          <p:cNvPr id="777" name="Picture 776" descr="ipp_fadila_noureldin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29200" y="1737360"/>
            <a:ext cx="640080" cy="640080"/>
          </a:xfrm>
          <a:prstGeom prst="rect">
            <a:avLst/>
          </a:prstGeom>
        </p:spPr>
      </p:pic>
      <p:sp>
        <p:nvSpPr>
          <p:cNvPr id="778" name="TextBox 777"/>
          <p:cNvSpPr txBox="1"/>
          <p:nvPr/>
        </p:nvSpPr>
        <p:spPr>
          <a:xfrm>
            <a:off x="50292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dila </a:t>
            </a:r>
            <a:br/>
            <a:r>
              <a:t>Noureldin</a:t>
            </a:r>
            <a:br/>
            <a:r>
              <a:t>Manager</a:t>
            </a:r>
          </a:p>
        </p:txBody>
      </p:sp>
      <p:sp>
        <p:nvSpPr>
          <p:cNvPr id="779" name="TextBox 778"/>
          <p:cNvSpPr txBox="1"/>
          <p:nvPr/>
        </p:nvSpPr>
        <p:spPr>
          <a:xfrm>
            <a:off x="50292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0" name="Picture 77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9220" y="3017520"/>
            <a:ext cx="256032" cy="168442"/>
          </a:xfrm>
          <a:prstGeom prst="rect">
            <a:avLst/>
          </a:prstGeom>
        </p:spPr>
      </p:pic>
      <p:pic>
        <p:nvPicPr>
          <p:cNvPr id="781" name="Picture 780" descr="ipp_farah_harb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43600" y="1737360"/>
            <a:ext cx="640080" cy="640080"/>
          </a:xfrm>
          <a:prstGeom prst="rect">
            <a:avLst/>
          </a:prstGeom>
        </p:spPr>
      </p:pic>
      <p:sp>
        <p:nvSpPr>
          <p:cNvPr id="782" name="TextBox 781"/>
          <p:cNvSpPr txBox="1"/>
          <p:nvPr/>
        </p:nvSpPr>
        <p:spPr>
          <a:xfrm>
            <a:off x="59436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rah </a:t>
            </a:r>
            <a:br/>
            <a:r>
              <a:t>Harb</a:t>
            </a:r>
            <a:br/>
            <a:r>
              <a:t>Team Lead</a:t>
            </a:r>
          </a:p>
        </p:txBody>
      </p:sp>
      <p:sp>
        <p:nvSpPr>
          <p:cNvPr id="783" name="TextBox 782"/>
          <p:cNvSpPr txBox="1"/>
          <p:nvPr/>
        </p:nvSpPr>
        <p:spPr>
          <a:xfrm>
            <a:off x="59436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4" name="Picture 78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03620" y="3017520"/>
            <a:ext cx="256032" cy="168442"/>
          </a:xfrm>
          <a:prstGeom prst="rect">
            <a:avLst/>
          </a:prstGeom>
        </p:spPr>
      </p:pic>
      <p:pic>
        <p:nvPicPr>
          <p:cNvPr id="785" name="Picture 784" descr="ipp_federica_ibrahim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8000" y="1737360"/>
            <a:ext cx="640080" cy="640080"/>
          </a:xfrm>
          <a:prstGeom prst="rect">
            <a:avLst/>
          </a:prstGeom>
        </p:spPr>
      </p:pic>
      <p:sp>
        <p:nvSpPr>
          <p:cNvPr id="786" name="TextBox 785"/>
          <p:cNvSpPr txBox="1"/>
          <p:nvPr/>
        </p:nvSpPr>
        <p:spPr>
          <a:xfrm>
            <a:off x="68580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ederica </a:t>
            </a:r>
            <a:br/>
            <a:r>
              <a:t>Ibrahim</a:t>
            </a:r>
            <a:br/>
            <a:r>
              <a:t>Manager</a:t>
            </a:r>
          </a:p>
        </p:txBody>
      </p:sp>
      <p:sp>
        <p:nvSpPr>
          <p:cNvPr id="787" name="TextBox 786"/>
          <p:cNvSpPr txBox="1"/>
          <p:nvPr/>
        </p:nvSpPr>
        <p:spPr>
          <a:xfrm>
            <a:off x="68580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88" name="Picture 78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18020" y="3017520"/>
            <a:ext cx="256032" cy="168442"/>
          </a:xfrm>
          <a:prstGeom prst="rect">
            <a:avLst/>
          </a:prstGeom>
        </p:spPr>
      </p:pic>
      <p:pic>
        <p:nvPicPr>
          <p:cNvPr id="789" name="Picture 788" descr="ipp_hadil_naguib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2400" y="1737360"/>
            <a:ext cx="640080" cy="640080"/>
          </a:xfrm>
          <a:prstGeom prst="rect">
            <a:avLst/>
          </a:prstGeom>
        </p:spPr>
      </p:pic>
      <p:sp>
        <p:nvSpPr>
          <p:cNvPr id="790" name="TextBox 789"/>
          <p:cNvSpPr txBox="1"/>
          <p:nvPr/>
        </p:nvSpPr>
        <p:spPr>
          <a:xfrm>
            <a:off x="77724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dil </a:t>
            </a:r>
            <a:br/>
            <a:r>
              <a:t>Naguib</a:t>
            </a:r>
            <a:br/>
            <a:r>
              <a:t>Manager</a:t>
            </a:r>
          </a:p>
        </p:txBody>
      </p:sp>
      <p:sp>
        <p:nvSpPr>
          <p:cNvPr id="791" name="TextBox 790"/>
          <p:cNvSpPr txBox="1"/>
          <p:nvPr/>
        </p:nvSpPr>
        <p:spPr>
          <a:xfrm>
            <a:off x="77724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92" name="Picture 79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32420" y="3017520"/>
            <a:ext cx="256032" cy="168442"/>
          </a:xfrm>
          <a:prstGeom prst="rect">
            <a:avLst/>
          </a:prstGeom>
        </p:spPr>
      </p:pic>
      <p:pic>
        <p:nvPicPr>
          <p:cNvPr id="793" name="Picture 792" descr="ipp_hazem_omari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86800" y="1737360"/>
            <a:ext cx="640080" cy="640080"/>
          </a:xfrm>
          <a:prstGeom prst="rect">
            <a:avLst/>
          </a:prstGeom>
        </p:spPr>
      </p:pic>
      <p:sp>
        <p:nvSpPr>
          <p:cNvPr id="794" name="TextBox 793"/>
          <p:cNvSpPr txBox="1"/>
          <p:nvPr/>
        </p:nvSpPr>
        <p:spPr>
          <a:xfrm>
            <a:off x="86868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zem </a:t>
            </a:r>
            <a:br/>
            <a:r>
              <a:t>Omari</a:t>
            </a:r>
            <a:br/>
            <a:r>
              <a:t>Team Lead</a:t>
            </a:r>
          </a:p>
        </p:txBody>
      </p:sp>
      <p:sp>
        <p:nvSpPr>
          <p:cNvPr id="795" name="TextBox 794"/>
          <p:cNvSpPr txBox="1"/>
          <p:nvPr/>
        </p:nvSpPr>
        <p:spPr>
          <a:xfrm>
            <a:off x="86868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96" name="Picture 79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6820" y="3017520"/>
            <a:ext cx="256032" cy="168442"/>
          </a:xfrm>
          <a:prstGeom prst="rect">
            <a:avLst/>
          </a:prstGeom>
        </p:spPr>
      </p:pic>
      <p:pic>
        <p:nvPicPr>
          <p:cNvPr id="797" name="Picture 796" descr="ipp_kholoud_azzazy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1200" y="1737360"/>
            <a:ext cx="640080" cy="640080"/>
          </a:xfrm>
          <a:prstGeom prst="rect">
            <a:avLst/>
          </a:prstGeom>
        </p:spPr>
      </p:pic>
      <p:sp>
        <p:nvSpPr>
          <p:cNvPr id="798" name="TextBox 797"/>
          <p:cNvSpPr txBox="1"/>
          <p:nvPr/>
        </p:nvSpPr>
        <p:spPr>
          <a:xfrm>
            <a:off x="96012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Kholoud </a:t>
            </a:r>
            <a:br/>
            <a:r>
              <a:t>Azzazy</a:t>
            </a:r>
            <a:br/>
            <a:r>
              <a:t>Manager</a:t>
            </a:r>
          </a:p>
        </p:txBody>
      </p:sp>
      <p:sp>
        <p:nvSpPr>
          <p:cNvPr id="799" name="TextBox 798"/>
          <p:cNvSpPr txBox="1"/>
          <p:nvPr/>
        </p:nvSpPr>
        <p:spPr>
          <a:xfrm>
            <a:off x="96012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00" name="Picture 79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1220" y="3017520"/>
            <a:ext cx="256032" cy="168442"/>
          </a:xfrm>
          <a:prstGeom prst="rect">
            <a:avLst/>
          </a:prstGeom>
        </p:spPr>
      </p:pic>
      <p:pic>
        <p:nvPicPr>
          <p:cNvPr id="801" name="Picture 800" descr="ipp_loay_sherine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15600" y="1737360"/>
            <a:ext cx="640080" cy="640080"/>
          </a:xfrm>
          <a:prstGeom prst="rect">
            <a:avLst/>
          </a:prstGeom>
        </p:spPr>
      </p:pic>
      <p:sp>
        <p:nvSpPr>
          <p:cNvPr id="802" name="TextBox 801"/>
          <p:cNvSpPr txBox="1"/>
          <p:nvPr/>
        </p:nvSpPr>
        <p:spPr>
          <a:xfrm>
            <a:off x="105156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Loay </a:t>
            </a:r>
            <a:br/>
            <a:r>
              <a:t>Sherine</a:t>
            </a:r>
            <a:br/>
            <a:r>
              <a:t>Team Lead</a:t>
            </a:r>
          </a:p>
        </p:txBody>
      </p:sp>
      <p:sp>
        <p:nvSpPr>
          <p:cNvPr id="803" name="TextBox 802"/>
          <p:cNvSpPr txBox="1"/>
          <p:nvPr/>
        </p:nvSpPr>
        <p:spPr>
          <a:xfrm>
            <a:off x="105156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04" name="Picture 80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75620" y="3017520"/>
            <a:ext cx="256032" cy="168442"/>
          </a:xfrm>
          <a:prstGeom prst="rect">
            <a:avLst/>
          </a:prstGeom>
        </p:spPr>
      </p:pic>
      <p:pic>
        <p:nvPicPr>
          <p:cNvPr id="805" name="Picture 804" descr="ipp_maha_salem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430000" y="1737360"/>
            <a:ext cx="640080" cy="640080"/>
          </a:xfrm>
          <a:prstGeom prst="rect">
            <a:avLst/>
          </a:prstGeom>
        </p:spPr>
      </p:pic>
      <p:sp>
        <p:nvSpPr>
          <p:cNvPr id="806" name="TextBox 805"/>
          <p:cNvSpPr txBox="1"/>
          <p:nvPr/>
        </p:nvSpPr>
        <p:spPr>
          <a:xfrm>
            <a:off x="114300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ha </a:t>
            </a:r>
            <a:br/>
            <a:r>
              <a:t>Salem</a:t>
            </a:r>
            <a:br/>
            <a:r>
              <a:t>Manager</a:t>
            </a:r>
          </a:p>
        </p:txBody>
      </p:sp>
      <p:sp>
        <p:nvSpPr>
          <p:cNvPr id="807" name="TextBox 806"/>
          <p:cNvSpPr txBox="1"/>
          <p:nvPr/>
        </p:nvSpPr>
        <p:spPr>
          <a:xfrm>
            <a:off x="114300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08" name="Picture 80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90020" y="3017520"/>
            <a:ext cx="256032" cy="168442"/>
          </a:xfrm>
          <a:prstGeom prst="rect">
            <a:avLst/>
          </a:prstGeom>
        </p:spPr>
      </p:pic>
      <p:pic>
        <p:nvPicPr>
          <p:cNvPr id="809" name="Picture 808" descr="ipp_perihan_alhusseini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200" y="3108960"/>
            <a:ext cx="640080" cy="640080"/>
          </a:xfrm>
          <a:prstGeom prst="rect">
            <a:avLst/>
          </a:prstGeom>
        </p:spPr>
      </p:pic>
      <p:sp>
        <p:nvSpPr>
          <p:cNvPr id="810" name="TextBox 809"/>
          <p:cNvSpPr txBox="1"/>
          <p:nvPr/>
        </p:nvSpPr>
        <p:spPr>
          <a:xfrm>
            <a:off x="4572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Perihan </a:t>
            </a:r>
            <a:br/>
            <a:r>
              <a:t>Alhusseini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811" name="TextBox 810"/>
          <p:cNvSpPr txBox="1"/>
          <p:nvPr/>
        </p:nvSpPr>
        <p:spPr>
          <a:xfrm>
            <a:off x="4572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12" name="Picture 81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220" y="4389120"/>
            <a:ext cx="256032" cy="168442"/>
          </a:xfrm>
          <a:prstGeom prst="rect">
            <a:avLst/>
          </a:prstGeom>
        </p:spPr>
      </p:pic>
      <p:pic>
        <p:nvPicPr>
          <p:cNvPr id="813" name="Picture 812" descr="ipp_sofia_aziz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71600" y="3108960"/>
            <a:ext cx="640080" cy="640080"/>
          </a:xfrm>
          <a:prstGeom prst="rect">
            <a:avLst/>
          </a:prstGeom>
        </p:spPr>
      </p:pic>
      <p:sp>
        <p:nvSpPr>
          <p:cNvPr id="814" name="TextBox 813"/>
          <p:cNvSpPr txBox="1"/>
          <p:nvPr/>
        </p:nvSpPr>
        <p:spPr>
          <a:xfrm>
            <a:off x="13716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ofia </a:t>
            </a:r>
            <a:br/>
            <a:r>
              <a:t>Aziz</a:t>
            </a:r>
            <a:br/>
            <a:r>
              <a:t>Team Lead</a:t>
            </a:r>
          </a:p>
        </p:txBody>
      </p:sp>
      <p:sp>
        <p:nvSpPr>
          <p:cNvPr id="815" name="TextBox 814"/>
          <p:cNvSpPr txBox="1"/>
          <p:nvPr/>
        </p:nvSpPr>
        <p:spPr>
          <a:xfrm>
            <a:off x="13716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16" name="Picture 81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1620" y="4389120"/>
            <a:ext cx="256032" cy="168442"/>
          </a:xfrm>
          <a:prstGeom prst="rect">
            <a:avLst/>
          </a:prstGeom>
        </p:spPr>
      </p:pic>
      <p:pic>
        <p:nvPicPr>
          <p:cNvPr id="817" name="Picture 816" descr="ipp_yahia_el_ghandour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286000" y="3108960"/>
            <a:ext cx="640080" cy="640080"/>
          </a:xfrm>
          <a:prstGeom prst="rect">
            <a:avLst/>
          </a:prstGeom>
        </p:spPr>
      </p:pic>
      <p:sp>
        <p:nvSpPr>
          <p:cNvPr id="818" name="TextBox 817"/>
          <p:cNvSpPr txBox="1"/>
          <p:nvPr/>
        </p:nvSpPr>
        <p:spPr>
          <a:xfrm>
            <a:off x="22860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Yahia El </a:t>
            </a:r>
            <a:br/>
            <a:r>
              <a:t>Ghandour</a:t>
            </a:r>
            <a:br/>
            <a:r>
              <a:t>Manager</a:t>
            </a:r>
          </a:p>
        </p:txBody>
      </p:sp>
      <p:sp>
        <p:nvSpPr>
          <p:cNvPr id="819" name="TextBox 818"/>
          <p:cNvSpPr txBox="1"/>
          <p:nvPr/>
        </p:nvSpPr>
        <p:spPr>
          <a:xfrm>
            <a:off x="22860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20" name="Picture 81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46020" y="4389120"/>
            <a:ext cx="256032" cy="168442"/>
          </a:xfrm>
          <a:prstGeom prst="rect">
            <a:avLst/>
          </a:prstGeom>
        </p:spPr>
      </p:pic>
      <p:pic>
        <p:nvPicPr>
          <p:cNvPr id="821" name="Picture 820" descr="ipp_cesar_armando_espinosa_resendiz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00400" y="3108960"/>
            <a:ext cx="640080" cy="640080"/>
          </a:xfrm>
          <a:prstGeom prst="rect">
            <a:avLst/>
          </a:prstGeom>
        </p:spPr>
      </p:pic>
      <p:sp>
        <p:nvSpPr>
          <p:cNvPr id="822" name="TextBox 821"/>
          <p:cNvSpPr txBox="1"/>
          <p:nvPr/>
        </p:nvSpPr>
        <p:spPr>
          <a:xfrm>
            <a:off x="32004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Cesar Armando </a:t>
            </a:r>
            <a:br/>
            <a:r>
              <a:t>Espinosa Resendiz</a:t>
            </a:r>
            <a:br/>
            <a:r>
              <a:t>Manager</a:t>
            </a:r>
          </a:p>
        </p:txBody>
      </p:sp>
      <p:sp>
        <p:nvSpPr>
          <p:cNvPr id="823" name="TextBox 822"/>
          <p:cNvSpPr txBox="1"/>
          <p:nvPr/>
        </p:nvSpPr>
        <p:spPr>
          <a:xfrm>
            <a:off x="32004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24" name="Picture 823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360420" y="4389120"/>
            <a:ext cx="256032" cy="168442"/>
          </a:xfrm>
          <a:prstGeom prst="rect">
            <a:avLst/>
          </a:prstGeom>
        </p:spPr>
      </p:pic>
      <p:pic>
        <p:nvPicPr>
          <p:cNvPr id="825" name="Picture 824" descr="ipp_ilai_fleitman_soffer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114800" y="3108960"/>
            <a:ext cx="640080" cy="640080"/>
          </a:xfrm>
          <a:prstGeom prst="rect">
            <a:avLst/>
          </a:prstGeom>
        </p:spPr>
      </p:pic>
      <p:sp>
        <p:nvSpPr>
          <p:cNvPr id="826" name="TextBox 825"/>
          <p:cNvSpPr txBox="1"/>
          <p:nvPr/>
        </p:nvSpPr>
        <p:spPr>
          <a:xfrm>
            <a:off x="41148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Ilai </a:t>
            </a:r>
            <a:br/>
            <a:r>
              <a:t>Fleitman Soffer</a:t>
            </a:r>
            <a:br/>
            <a:r>
              <a:t>Team Lead</a:t>
            </a:r>
          </a:p>
        </p:txBody>
      </p:sp>
      <p:sp>
        <p:nvSpPr>
          <p:cNvPr id="827" name="TextBox 826"/>
          <p:cNvSpPr txBox="1"/>
          <p:nvPr/>
        </p:nvSpPr>
        <p:spPr>
          <a:xfrm>
            <a:off x="41148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28" name="Picture 827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274820" y="4389120"/>
            <a:ext cx="256032" cy="168442"/>
          </a:xfrm>
          <a:prstGeom prst="rect">
            <a:avLst/>
          </a:prstGeom>
        </p:spPr>
      </p:pic>
      <p:pic>
        <p:nvPicPr>
          <p:cNvPr id="829" name="Picture 828" descr="ipp_jesus_rene_cazares_juarez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029200" y="3108960"/>
            <a:ext cx="640080" cy="640080"/>
          </a:xfrm>
          <a:prstGeom prst="rect">
            <a:avLst/>
          </a:prstGeom>
        </p:spPr>
      </p:pic>
      <p:sp>
        <p:nvSpPr>
          <p:cNvPr id="830" name="TextBox 829"/>
          <p:cNvSpPr txBox="1"/>
          <p:nvPr/>
        </p:nvSpPr>
        <p:spPr>
          <a:xfrm>
            <a:off x="50292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esus Rene </a:t>
            </a:r>
            <a:br/>
            <a:r>
              <a:t>Cazares Juarez</a:t>
            </a:r>
            <a:br/>
            <a:r>
              <a:t>Manager</a:t>
            </a:r>
          </a:p>
        </p:txBody>
      </p:sp>
      <p:sp>
        <p:nvSpPr>
          <p:cNvPr id="831" name="TextBox 830"/>
          <p:cNvSpPr txBox="1"/>
          <p:nvPr/>
        </p:nvSpPr>
        <p:spPr>
          <a:xfrm>
            <a:off x="50292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32" name="Picture 831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189220" y="4389120"/>
            <a:ext cx="256032" cy="168442"/>
          </a:xfrm>
          <a:prstGeom prst="rect">
            <a:avLst/>
          </a:prstGeom>
        </p:spPr>
      </p:pic>
      <p:pic>
        <p:nvPicPr>
          <p:cNvPr id="833" name="Picture 832" descr="ipp_maria_jose_toledo_diaz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943600" y="3108960"/>
            <a:ext cx="640080" cy="640080"/>
          </a:xfrm>
          <a:prstGeom prst="rect">
            <a:avLst/>
          </a:prstGeom>
        </p:spPr>
      </p:pic>
      <p:sp>
        <p:nvSpPr>
          <p:cNvPr id="834" name="TextBox 833"/>
          <p:cNvSpPr txBox="1"/>
          <p:nvPr/>
        </p:nvSpPr>
        <p:spPr>
          <a:xfrm>
            <a:off x="59436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ria Jose </a:t>
            </a:r>
            <a:br/>
            <a:r>
              <a:t>Toledo Diaz</a:t>
            </a:r>
            <a:br/>
            <a:r>
              <a:t>Team Lead</a:t>
            </a:r>
          </a:p>
        </p:txBody>
      </p:sp>
      <p:sp>
        <p:nvSpPr>
          <p:cNvPr id="835" name="TextBox 834"/>
          <p:cNvSpPr txBox="1"/>
          <p:nvPr/>
        </p:nvSpPr>
        <p:spPr>
          <a:xfrm>
            <a:off x="59436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36" name="Picture 835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103620" y="4389120"/>
            <a:ext cx="256032" cy="168442"/>
          </a:xfrm>
          <a:prstGeom prst="rect">
            <a:avLst/>
          </a:prstGeom>
        </p:spPr>
      </p:pic>
      <p:pic>
        <p:nvPicPr>
          <p:cNvPr id="837" name="Picture 836" descr="ipp_sophia_von_oppersdorff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858000" y="3108960"/>
            <a:ext cx="640080" cy="640080"/>
          </a:xfrm>
          <a:prstGeom prst="rect">
            <a:avLst/>
          </a:prstGeom>
        </p:spPr>
      </p:pic>
      <p:sp>
        <p:nvSpPr>
          <p:cNvPr id="838" name="TextBox 837"/>
          <p:cNvSpPr txBox="1"/>
          <p:nvPr/>
        </p:nvSpPr>
        <p:spPr>
          <a:xfrm>
            <a:off x="68580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ophia von </a:t>
            </a:r>
            <a:br/>
            <a:r>
              <a:t>Oppersdorff</a:t>
            </a:r>
            <a:br/>
            <a:r>
              <a:t>Manager</a:t>
            </a:r>
          </a:p>
        </p:txBody>
      </p:sp>
      <p:sp>
        <p:nvSpPr>
          <p:cNvPr id="839" name="TextBox 838"/>
          <p:cNvSpPr txBox="1"/>
          <p:nvPr/>
        </p:nvSpPr>
        <p:spPr>
          <a:xfrm>
            <a:off x="68580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40" name="Picture 839" descr="Mexico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018020" y="4389120"/>
            <a:ext cx="256032" cy="168442"/>
          </a:xfrm>
          <a:prstGeom prst="rect">
            <a:avLst/>
          </a:prstGeom>
        </p:spPr>
      </p:pic>
      <p:pic>
        <p:nvPicPr>
          <p:cNvPr id="841" name="Picture 840" descr="ipp_ahmed_salah_eddine_rkhioui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772400" y="3108960"/>
            <a:ext cx="640080" cy="640080"/>
          </a:xfrm>
          <a:prstGeom prst="rect">
            <a:avLst/>
          </a:prstGeom>
        </p:spPr>
      </p:pic>
      <p:sp>
        <p:nvSpPr>
          <p:cNvPr id="842" name="TextBox 841"/>
          <p:cNvSpPr txBox="1"/>
          <p:nvPr/>
        </p:nvSpPr>
        <p:spPr>
          <a:xfrm>
            <a:off x="77724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Salah </a:t>
            </a:r>
            <a:br/>
            <a:r>
              <a:t>Eddine Rkhioui</a:t>
            </a:r>
            <a:br/>
            <a:r>
              <a:t>Team Lead</a:t>
            </a:r>
          </a:p>
        </p:txBody>
      </p:sp>
      <p:sp>
        <p:nvSpPr>
          <p:cNvPr id="843" name="TextBox 842"/>
          <p:cNvSpPr txBox="1"/>
          <p:nvPr/>
        </p:nvSpPr>
        <p:spPr>
          <a:xfrm>
            <a:off x="77724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44" name="Picture 843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932420" y="4389120"/>
            <a:ext cx="256032" cy="168442"/>
          </a:xfrm>
          <a:prstGeom prst="rect">
            <a:avLst/>
          </a:prstGeom>
        </p:spPr>
      </p:pic>
      <p:pic>
        <p:nvPicPr>
          <p:cNvPr id="845" name="Picture 844" descr="ipp_fadoua_nassi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8686800" y="3108960"/>
            <a:ext cx="640080" cy="640080"/>
          </a:xfrm>
          <a:prstGeom prst="rect">
            <a:avLst/>
          </a:prstGeom>
        </p:spPr>
      </p:pic>
      <p:sp>
        <p:nvSpPr>
          <p:cNvPr id="846" name="TextBox 845"/>
          <p:cNvSpPr txBox="1"/>
          <p:nvPr/>
        </p:nvSpPr>
        <p:spPr>
          <a:xfrm>
            <a:off x="86868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doua </a:t>
            </a:r>
            <a:br/>
            <a:r>
              <a:t>Nassi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847" name="TextBox 846"/>
          <p:cNvSpPr txBox="1"/>
          <p:nvPr/>
        </p:nvSpPr>
        <p:spPr>
          <a:xfrm>
            <a:off x="86868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48" name="Picture 847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846820" y="4389120"/>
            <a:ext cx="256032" cy="168442"/>
          </a:xfrm>
          <a:prstGeom prst="rect">
            <a:avLst/>
          </a:prstGeom>
        </p:spPr>
      </p:pic>
      <p:pic>
        <p:nvPicPr>
          <p:cNvPr id="849" name="Picture 848" descr="ipp_fadwa_el_khalil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601200" y="3108960"/>
            <a:ext cx="640080" cy="640080"/>
          </a:xfrm>
          <a:prstGeom prst="rect">
            <a:avLst/>
          </a:prstGeom>
        </p:spPr>
      </p:pic>
      <p:sp>
        <p:nvSpPr>
          <p:cNvPr id="850" name="TextBox 849"/>
          <p:cNvSpPr txBox="1"/>
          <p:nvPr/>
        </p:nvSpPr>
        <p:spPr>
          <a:xfrm>
            <a:off x="96012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dwa El </a:t>
            </a:r>
            <a:br/>
            <a:r>
              <a:t>Khalil</a:t>
            </a:r>
            <a:br/>
            <a:r>
              <a:t>Manager</a:t>
            </a:r>
          </a:p>
        </p:txBody>
      </p:sp>
      <p:sp>
        <p:nvSpPr>
          <p:cNvPr id="851" name="TextBox 850"/>
          <p:cNvSpPr txBox="1"/>
          <p:nvPr/>
        </p:nvSpPr>
        <p:spPr>
          <a:xfrm>
            <a:off x="96012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52" name="Picture 851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761220" y="4389120"/>
            <a:ext cx="256032" cy="168442"/>
          </a:xfrm>
          <a:prstGeom prst="rect">
            <a:avLst/>
          </a:prstGeom>
        </p:spPr>
      </p:pic>
      <p:pic>
        <p:nvPicPr>
          <p:cNvPr id="853" name="Picture 852" descr="ipp_fatou_ndiaye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515600" y="3108960"/>
            <a:ext cx="640080" cy="640080"/>
          </a:xfrm>
          <a:prstGeom prst="rect">
            <a:avLst/>
          </a:prstGeom>
        </p:spPr>
      </p:pic>
      <p:sp>
        <p:nvSpPr>
          <p:cNvPr id="854" name="TextBox 853"/>
          <p:cNvSpPr txBox="1"/>
          <p:nvPr/>
        </p:nvSpPr>
        <p:spPr>
          <a:xfrm>
            <a:off x="105156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tou </a:t>
            </a:r>
            <a:br/>
            <a:r>
              <a:t>Ndiaye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855" name="TextBox 854"/>
          <p:cNvSpPr txBox="1"/>
          <p:nvPr/>
        </p:nvSpPr>
        <p:spPr>
          <a:xfrm>
            <a:off x="105156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56" name="Picture 855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675620" y="4389120"/>
            <a:ext cx="256032" cy="168442"/>
          </a:xfrm>
          <a:prstGeom prst="rect">
            <a:avLst/>
          </a:prstGeom>
        </p:spPr>
      </p:pic>
      <p:pic>
        <p:nvPicPr>
          <p:cNvPr id="857" name="Picture 856" descr="ipp_hamza_boudallaa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1430000" y="3108960"/>
            <a:ext cx="640080" cy="640080"/>
          </a:xfrm>
          <a:prstGeom prst="rect">
            <a:avLst/>
          </a:prstGeom>
        </p:spPr>
      </p:pic>
      <p:sp>
        <p:nvSpPr>
          <p:cNvPr id="858" name="TextBox 857"/>
          <p:cNvSpPr txBox="1"/>
          <p:nvPr/>
        </p:nvSpPr>
        <p:spPr>
          <a:xfrm>
            <a:off x="114300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mza </a:t>
            </a:r>
            <a:br/>
            <a:r>
              <a:t>Boudallaa</a:t>
            </a:r>
            <a:br/>
            <a:r>
              <a:t>Team Lead</a:t>
            </a:r>
          </a:p>
        </p:txBody>
      </p:sp>
      <p:sp>
        <p:nvSpPr>
          <p:cNvPr id="859" name="TextBox 858"/>
          <p:cNvSpPr txBox="1"/>
          <p:nvPr/>
        </p:nvSpPr>
        <p:spPr>
          <a:xfrm>
            <a:off x="114300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60" name="Picture 859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1590020" y="4389120"/>
            <a:ext cx="256032" cy="168442"/>
          </a:xfrm>
          <a:prstGeom prst="rect">
            <a:avLst/>
          </a:prstGeom>
        </p:spPr>
      </p:pic>
      <p:pic>
        <p:nvPicPr>
          <p:cNvPr id="861" name="Picture 860" descr="ipp_hinde_adjar.png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457200" y="4480560"/>
            <a:ext cx="640080" cy="640080"/>
          </a:xfrm>
          <a:prstGeom prst="rect">
            <a:avLst/>
          </a:prstGeom>
        </p:spPr>
      </p:pic>
      <p:sp>
        <p:nvSpPr>
          <p:cNvPr id="862" name="TextBox 861"/>
          <p:cNvSpPr txBox="1"/>
          <p:nvPr/>
        </p:nvSpPr>
        <p:spPr>
          <a:xfrm>
            <a:off x="4572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inde </a:t>
            </a:r>
            <a:br/>
            <a:r>
              <a:t>Adjar</a:t>
            </a:r>
            <a:br/>
            <a:r>
              <a:t>Team Lead</a:t>
            </a:r>
          </a:p>
        </p:txBody>
      </p:sp>
      <p:sp>
        <p:nvSpPr>
          <p:cNvPr id="863" name="TextBox 862"/>
          <p:cNvSpPr txBox="1"/>
          <p:nvPr/>
        </p:nvSpPr>
        <p:spPr>
          <a:xfrm>
            <a:off x="4572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64" name="Picture 863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17220" y="5760720"/>
            <a:ext cx="256032" cy="168442"/>
          </a:xfrm>
          <a:prstGeom prst="rect">
            <a:avLst/>
          </a:prstGeom>
        </p:spPr>
      </p:pic>
      <p:pic>
        <p:nvPicPr>
          <p:cNvPr id="865" name="Picture 864" descr="test_pic.png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371600" y="4480560"/>
            <a:ext cx="640080" cy="640080"/>
          </a:xfrm>
          <a:prstGeom prst="rect">
            <a:avLst/>
          </a:prstGeom>
        </p:spPr>
      </p:pic>
      <p:sp>
        <p:nvSpPr>
          <p:cNvPr id="866" name="TextBox 865"/>
          <p:cNvSpPr txBox="1"/>
          <p:nvPr/>
        </p:nvSpPr>
        <p:spPr>
          <a:xfrm>
            <a:off x="13716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Houssam Ayaou</a:t>
            </a:r>
            <a:br/>
            <a:r>
              <a:t>Team Lead</a:t>
            </a:r>
          </a:p>
        </p:txBody>
      </p:sp>
      <p:sp>
        <p:nvSpPr>
          <p:cNvPr id="867" name="TextBox 866"/>
          <p:cNvSpPr txBox="1"/>
          <p:nvPr/>
        </p:nvSpPr>
        <p:spPr>
          <a:xfrm>
            <a:off x="13716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68" name="Picture 867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531620" y="5760720"/>
            <a:ext cx="256032" cy="168442"/>
          </a:xfrm>
          <a:prstGeom prst="rect">
            <a:avLst/>
          </a:prstGeom>
        </p:spPr>
      </p:pic>
      <p:pic>
        <p:nvPicPr>
          <p:cNvPr id="869" name="Picture 868" descr="ipp_ibrahim_zaaimi.png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2286000" y="4480560"/>
            <a:ext cx="640080" cy="640080"/>
          </a:xfrm>
          <a:prstGeom prst="rect">
            <a:avLst/>
          </a:prstGeom>
        </p:spPr>
      </p:pic>
      <p:sp>
        <p:nvSpPr>
          <p:cNvPr id="870" name="TextBox 869"/>
          <p:cNvSpPr txBox="1"/>
          <p:nvPr/>
        </p:nvSpPr>
        <p:spPr>
          <a:xfrm>
            <a:off x="22860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Ibrahim </a:t>
            </a:r>
            <a:br/>
            <a:r>
              <a:t>Zaaimi</a:t>
            </a:r>
            <a:br/>
            <a:r>
              <a:t>Senior</a:t>
            </a:r>
            <a:br/>
            <a:r>
              <a:t>Manager</a:t>
            </a:r>
          </a:p>
        </p:txBody>
      </p:sp>
      <p:sp>
        <p:nvSpPr>
          <p:cNvPr id="871" name="TextBox 870"/>
          <p:cNvSpPr txBox="1"/>
          <p:nvPr/>
        </p:nvSpPr>
        <p:spPr>
          <a:xfrm>
            <a:off x="22860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72" name="Picture 871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2446020" y="5760720"/>
            <a:ext cx="256032" cy="168442"/>
          </a:xfrm>
          <a:prstGeom prst="rect">
            <a:avLst/>
          </a:prstGeom>
        </p:spPr>
      </p:pic>
      <p:pic>
        <p:nvPicPr>
          <p:cNvPr id="873" name="Picture 872" descr="ipp_intissar_mounaji.png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200400" y="4480560"/>
            <a:ext cx="640080" cy="640080"/>
          </a:xfrm>
          <a:prstGeom prst="rect">
            <a:avLst/>
          </a:prstGeom>
        </p:spPr>
      </p:pic>
      <p:sp>
        <p:nvSpPr>
          <p:cNvPr id="874" name="TextBox 873"/>
          <p:cNvSpPr txBox="1"/>
          <p:nvPr/>
        </p:nvSpPr>
        <p:spPr>
          <a:xfrm>
            <a:off x="32004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Intissar </a:t>
            </a:r>
            <a:br/>
            <a:r>
              <a:t>Mounaji</a:t>
            </a:r>
            <a:br/>
            <a:r>
              <a:t>Team Lead</a:t>
            </a:r>
          </a:p>
        </p:txBody>
      </p:sp>
      <p:sp>
        <p:nvSpPr>
          <p:cNvPr id="875" name="TextBox 874"/>
          <p:cNvSpPr txBox="1"/>
          <p:nvPr/>
        </p:nvSpPr>
        <p:spPr>
          <a:xfrm>
            <a:off x="32004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76" name="Picture 875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360420" y="5760720"/>
            <a:ext cx="256032" cy="168442"/>
          </a:xfrm>
          <a:prstGeom prst="rect">
            <a:avLst/>
          </a:prstGeom>
        </p:spPr>
      </p:pic>
      <p:pic>
        <p:nvPicPr>
          <p:cNvPr id="877" name="Picture 876" descr="ipp_meryem_khaled.png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4114800" y="4480560"/>
            <a:ext cx="640080" cy="640080"/>
          </a:xfrm>
          <a:prstGeom prst="rect">
            <a:avLst/>
          </a:prstGeom>
        </p:spPr>
      </p:pic>
      <p:sp>
        <p:nvSpPr>
          <p:cNvPr id="878" name="TextBox 877"/>
          <p:cNvSpPr txBox="1"/>
          <p:nvPr/>
        </p:nvSpPr>
        <p:spPr>
          <a:xfrm>
            <a:off x="41148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eryem </a:t>
            </a:r>
            <a:br/>
            <a:r>
              <a:t>Khaled</a:t>
            </a:r>
            <a:br/>
            <a:r>
              <a:t>Team Lead</a:t>
            </a:r>
          </a:p>
        </p:txBody>
      </p:sp>
      <p:sp>
        <p:nvSpPr>
          <p:cNvPr id="879" name="TextBox 878"/>
          <p:cNvSpPr txBox="1"/>
          <p:nvPr/>
        </p:nvSpPr>
        <p:spPr>
          <a:xfrm>
            <a:off x="41148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80" name="Picture 879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274820" y="5760720"/>
            <a:ext cx="256032" cy="168442"/>
          </a:xfrm>
          <a:prstGeom prst="rect">
            <a:avLst/>
          </a:prstGeom>
        </p:spPr>
      </p:pic>
      <p:pic>
        <p:nvPicPr>
          <p:cNvPr id="881" name="Picture 880" descr="ipp_mohamed_taha_akhanchouf.png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5029200" y="4480560"/>
            <a:ext cx="640080" cy="640080"/>
          </a:xfrm>
          <a:prstGeom prst="rect">
            <a:avLst/>
          </a:prstGeom>
        </p:spPr>
      </p:pic>
      <p:sp>
        <p:nvSpPr>
          <p:cNvPr id="882" name="TextBox 881"/>
          <p:cNvSpPr txBox="1"/>
          <p:nvPr/>
        </p:nvSpPr>
        <p:spPr>
          <a:xfrm>
            <a:off x="50292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ohamed Taha </a:t>
            </a:r>
            <a:br/>
            <a:r>
              <a:t>Akhanchouf</a:t>
            </a:r>
            <a:br/>
            <a:r>
              <a:t>Manager</a:t>
            </a:r>
          </a:p>
        </p:txBody>
      </p:sp>
      <p:sp>
        <p:nvSpPr>
          <p:cNvPr id="883" name="TextBox 882"/>
          <p:cNvSpPr txBox="1"/>
          <p:nvPr/>
        </p:nvSpPr>
        <p:spPr>
          <a:xfrm>
            <a:off x="50292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84" name="Picture 883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189220" y="5760720"/>
            <a:ext cx="256032" cy="168442"/>
          </a:xfrm>
          <a:prstGeom prst="rect">
            <a:avLst/>
          </a:prstGeom>
        </p:spPr>
      </p:pic>
      <p:pic>
        <p:nvPicPr>
          <p:cNvPr id="885" name="Picture 884" descr="ipp_mouad_taoufiq.png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5943600" y="4480560"/>
            <a:ext cx="640080" cy="640080"/>
          </a:xfrm>
          <a:prstGeom prst="rect">
            <a:avLst/>
          </a:prstGeom>
        </p:spPr>
      </p:pic>
      <p:sp>
        <p:nvSpPr>
          <p:cNvPr id="886" name="TextBox 885"/>
          <p:cNvSpPr txBox="1"/>
          <p:nvPr/>
        </p:nvSpPr>
        <p:spPr>
          <a:xfrm>
            <a:off x="59436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ouad </a:t>
            </a:r>
            <a:br/>
            <a:r>
              <a:t>Taoufiq</a:t>
            </a:r>
            <a:br/>
            <a:r>
              <a:t>Team Lead</a:t>
            </a:r>
          </a:p>
        </p:txBody>
      </p:sp>
      <p:sp>
        <p:nvSpPr>
          <p:cNvPr id="887" name="TextBox 886"/>
          <p:cNvSpPr txBox="1"/>
          <p:nvPr/>
        </p:nvSpPr>
        <p:spPr>
          <a:xfrm>
            <a:off x="59436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88" name="Picture 887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103620" y="5760720"/>
            <a:ext cx="256032" cy="168442"/>
          </a:xfrm>
          <a:prstGeom prst="rect">
            <a:avLst/>
          </a:prstGeom>
        </p:spPr>
      </p:pic>
      <p:pic>
        <p:nvPicPr>
          <p:cNvPr id="889" name="Picture 888" descr="ipp_nouha_abardazzou.png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6858000" y="4480560"/>
            <a:ext cx="640080" cy="640080"/>
          </a:xfrm>
          <a:prstGeom prst="rect">
            <a:avLst/>
          </a:prstGeom>
        </p:spPr>
      </p:pic>
      <p:sp>
        <p:nvSpPr>
          <p:cNvPr id="890" name="TextBox 889"/>
          <p:cNvSpPr txBox="1"/>
          <p:nvPr/>
        </p:nvSpPr>
        <p:spPr>
          <a:xfrm>
            <a:off x="68580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Nouha </a:t>
            </a:r>
            <a:br/>
            <a:r>
              <a:t>Abardazzou</a:t>
            </a:r>
            <a:br/>
            <a:r>
              <a:t>Team Lead</a:t>
            </a:r>
          </a:p>
        </p:txBody>
      </p:sp>
      <p:sp>
        <p:nvSpPr>
          <p:cNvPr id="891" name="TextBox 890"/>
          <p:cNvSpPr txBox="1"/>
          <p:nvPr/>
        </p:nvSpPr>
        <p:spPr>
          <a:xfrm>
            <a:off x="68580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92" name="Picture 891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018020" y="5760720"/>
            <a:ext cx="256032" cy="168442"/>
          </a:xfrm>
          <a:prstGeom prst="rect">
            <a:avLst/>
          </a:prstGeom>
        </p:spPr>
      </p:pic>
      <p:pic>
        <p:nvPicPr>
          <p:cNvPr id="893" name="Picture 892" descr="ipp_sami_el_ansari.png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7772400" y="4480560"/>
            <a:ext cx="640080" cy="640080"/>
          </a:xfrm>
          <a:prstGeom prst="rect">
            <a:avLst/>
          </a:prstGeom>
        </p:spPr>
      </p:pic>
      <p:sp>
        <p:nvSpPr>
          <p:cNvPr id="894" name="TextBox 893"/>
          <p:cNvSpPr txBox="1"/>
          <p:nvPr/>
        </p:nvSpPr>
        <p:spPr>
          <a:xfrm>
            <a:off x="77724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ami El </a:t>
            </a:r>
            <a:br/>
            <a:r>
              <a:t>Ansari</a:t>
            </a:r>
            <a:br/>
            <a:r>
              <a:t>Team Lead</a:t>
            </a:r>
          </a:p>
        </p:txBody>
      </p:sp>
      <p:sp>
        <p:nvSpPr>
          <p:cNvPr id="895" name="TextBox 894"/>
          <p:cNvSpPr txBox="1"/>
          <p:nvPr/>
        </p:nvSpPr>
        <p:spPr>
          <a:xfrm>
            <a:off x="77724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896" name="Picture 895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932420" y="5760720"/>
            <a:ext cx="256032" cy="168442"/>
          </a:xfrm>
          <a:prstGeom prst="rect">
            <a:avLst/>
          </a:prstGeom>
        </p:spPr>
      </p:pic>
      <p:pic>
        <p:nvPicPr>
          <p:cNvPr id="897" name="Picture 896" descr="ipp_zakaria_hmaiti.png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8686800" y="4480560"/>
            <a:ext cx="640080" cy="640080"/>
          </a:xfrm>
          <a:prstGeom prst="rect">
            <a:avLst/>
          </a:prstGeom>
        </p:spPr>
      </p:pic>
      <p:sp>
        <p:nvSpPr>
          <p:cNvPr id="898" name="TextBox 897"/>
          <p:cNvSpPr txBox="1"/>
          <p:nvPr/>
        </p:nvSpPr>
        <p:spPr>
          <a:xfrm>
            <a:off x="86868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Zakaria </a:t>
            </a:r>
            <a:br/>
            <a:r>
              <a:t>Hmaiti</a:t>
            </a:r>
            <a:br/>
            <a:r>
              <a:t>Manager</a:t>
            </a:r>
          </a:p>
        </p:txBody>
      </p:sp>
      <p:sp>
        <p:nvSpPr>
          <p:cNvPr id="899" name="TextBox 898"/>
          <p:cNvSpPr txBox="1"/>
          <p:nvPr/>
        </p:nvSpPr>
        <p:spPr>
          <a:xfrm>
            <a:off x="86868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900" name="Picture 899" descr="imag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846820" y="5760720"/>
            <a:ext cx="256032" cy="168442"/>
          </a:xfrm>
          <a:prstGeom prst="rect">
            <a:avLst/>
          </a:prstGeom>
        </p:spPr>
      </p:pic>
      <p:pic>
        <p:nvPicPr>
          <p:cNvPr id="901" name="Picture 900" descr="ipp_erickson_oduya.png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9601200" y="4480560"/>
            <a:ext cx="640080" cy="640080"/>
          </a:xfrm>
          <a:prstGeom prst="rect">
            <a:avLst/>
          </a:prstGeom>
        </p:spPr>
      </p:pic>
      <p:sp>
        <p:nvSpPr>
          <p:cNvPr id="902" name="TextBox 901"/>
          <p:cNvSpPr txBox="1"/>
          <p:nvPr/>
        </p:nvSpPr>
        <p:spPr>
          <a:xfrm>
            <a:off x="96012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Erickson Oduya</a:t>
            </a:r>
            <a:br/>
            <a:r>
              <a:t>Team Lead</a:t>
            </a:r>
          </a:p>
        </p:txBody>
      </p:sp>
      <p:sp>
        <p:nvSpPr>
          <p:cNvPr id="903" name="TextBox 902"/>
          <p:cNvSpPr txBox="1"/>
          <p:nvPr/>
        </p:nvSpPr>
        <p:spPr>
          <a:xfrm>
            <a:off x="96012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emote</a:t>
            </a:r>
          </a:p>
        </p:txBody>
      </p:sp>
      <p:pic>
        <p:nvPicPr>
          <p:cNvPr id="904" name="Picture 903" descr="ipp_lorenzo_bruscagli.png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10515600" y="4480560"/>
            <a:ext cx="640080" cy="640080"/>
          </a:xfrm>
          <a:prstGeom prst="rect">
            <a:avLst/>
          </a:prstGeom>
        </p:spPr>
      </p:pic>
      <p:sp>
        <p:nvSpPr>
          <p:cNvPr id="905" name="TextBox 904"/>
          <p:cNvSpPr txBox="1"/>
          <p:nvPr/>
        </p:nvSpPr>
        <p:spPr>
          <a:xfrm>
            <a:off x="105156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Lorenzo </a:t>
            </a:r>
            <a:br/>
            <a:r>
              <a:t>Bruscagli</a:t>
            </a:r>
            <a:br/>
            <a:r>
              <a:t>Team Lead</a:t>
            </a:r>
          </a:p>
        </p:txBody>
      </p:sp>
      <p:sp>
        <p:nvSpPr>
          <p:cNvPr id="906" name="TextBox 905"/>
          <p:cNvSpPr txBox="1"/>
          <p:nvPr/>
        </p:nvSpPr>
        <p:spPr>
          <a:xfrm>
            <a:off x="105156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emote</a:t>
            </a:r>
          </a:p>
        </p:txBody>
      </p:sp>
      <p:pic>
        <p:nvPicPr>
          <p:cNvPr id="907" name="Picture 906" descr="ipp_maria_de_fatima_hidalgo_ramirez.png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11430000" y="4480560"/>
            <a:ext cx="640080" cy="640080"/>
          </a:xfrm>
          <a:prstGeom prst="rect">
            <a:avLst/>
          </a:prstGeom>
        </p:spPr>
      </p:pic>
      <p:sp>
        <p:nvSpPr>
          <p:cNvPr id="908" name="TextBox 907"/>
          <p:cNvSpPr txBox="1"/>
          <p:nvPr/>
        </p:nvSpPr>
        <p:spPr>
          <a:xfrm>
            <a:off x="11430000" y="4907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ria de Fatima </a:t>
            </a:r>
            <a:br/>
            <a:r>
              <a:t>Hidalgo Ramirez</a:t>
            </a:r>
            <a:br/>
            <a:r>
              <a:t>Team Lead</a:t>
            </a:r>
          </a:p>
        </p:txBody>
      </p:sp>
      <p:sp>
        <p:nvSpPr>
          <p:cNvPr id="909" name="TextBox 908"/>
          <p:cNvSpPr txBox="1"/>
          <p:nvPr/>
        </p:nvSpPr>
        <p:spPr>
          <a:xfrm>
            <a:off x="11430000" y="47853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emote</a:t>
            </a:r>
          </a:p>
        </p:txBody>
      </p:sp>
      <p:pic>
        <p:nvPicPr>
          <p:cNvPr id="910" name="Picture 909" descr="ipp_konrad_kalies.png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57200" y="5852160"/>
            <a:ext cx="640080" cy="640080"/>
          </a:xfrm>
          <a:prstGeom prst="rect">
            <a:avLst/>
          </a:prstGeom>
        </p:spPr>
      </p:pic>
      <p:sp>
        <p:nvSpPr>
          <p:cNvPr id="911" name="TextBox 910"/>
          <p:cNvSpPr txBox="1"/>
          <p:nvPr/>
        </p:nvSpPr>
        <p:spPr>
          <a:xfrm>
            <a:off x="457200" y="62788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Konrad </a:t>
            </a:r>
            <a:br/>
            <a:r>
              <a:t>Kalies</a:t>
            </a:r>
            <a:br/>
            <a:r>
              <a:t>Head</a:t>
            </a:r>
            <a:br/>
            <a:r>
              <a:t>of Business Research</a:t>
            </a:r>
          </a:p>
        </p:txBody>
      </p:sp>
      <p:sp>
        <p:nvSpPr>
          <p:cNvPr id="912" name="TextBox 911"/>
          <p:cNvSpPr txBox="1"/>
          <p:nvPr/>
        </p:nvSpPr>
        <p:spPr>
          <a:xfrm>
            <a:off x="457200" y="61569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913" name="Picture 912" descr="Spain.png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617220" y="7132320"/>
            <a:ext cx="256032" cy="168442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KT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3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51890" y="5235788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36890" y="5312738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971" y="5208212"/>
            <a:ext cx="365760" cy="209398"/>
          </a:xfrm>
          <a:prstGeom prst="rect">
            <a:avLst/>
          </a:prstGeom>
        </p:spPr>
      </p:pic>
      <p:pic>
        <p:nvPicPr>
          <p:cNvPr id="1249" name="Picture 1248" descr="ipp_abdelrahman_mamdouh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737360"/>
            <a:ext cx="548640" cy="548640"/>
          </a:xfrm>
          <a:prstGeom prst="rect">
            <a:avLst/>
          </a:prstGeom>
        </p:spPr>
      </p:pic>
      <p:sp>
        <p:nvSpPr>
          <p:cNvPr id="1250" name="TextBox 1249"/>
          <p:cNvSpPr txBox="1"/>
          <p:nvPr/>
        </p:nvSpPr>
        <p:spPr>
          <a:xfrm>
            <a:off x="4572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Abdelrahman Mamdouh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51" name="TextBox 1250"/>
          <p:cNvSpPr txBox="1"/>
          <p:nvPr/>
        </p:nvSpPr>
        <p:spPr>
          <a:xfrm>
            <a:off x="4572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2" name="Picture 1251" descr="ipp_abdullah_sale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1737360"/>
            <a:ext cx="548640" cy="548640"/>
          </a:xfrm>
          <a:prstGeom prst="rect">
            <a:avLst/>
          </a:prstGeom>
        </p:spPr>
      </p:pic>
      <p:sp>
        <p:nvSpPr>
          <p:cNvPr id="1253" name="TextBox 1252"/>
          <p:cNvSpPr txBox="1"/>
          <p:nvPr/>
        </p:nvSpPr>
        <p:spPr>
          <a:xfrm>
            <a:off x="13716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Abdullah Salem</a:t>
            </a:r>
            <a:br/>
            <a:r>
              <a:t>Associate</a:t>
            </a:r>
          </a:p>
        </p:txBody>
      </p:sp>
      <p:sp>
        <p:nvSpPr>
          <p:cNvPr id="1254" name="TextBox 1253"/>
          <p:cNvSpPr txBox="1"/>
          <p:nvPr/>
        </p:nvSpPr>
        <p:spPr>
          <a:xfrm>
            <a:off x="13716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5" name="Picture 1254" descr="ipp_adham_soliman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1737360"/>
            <a:ext cx="548640" cy="548640"/>
          </a:xfrm>
          <a:prstGeom prst="rect">
            <a:avLst/>
          </a:prstGeom>
        </p:spPr>
      </p:pic>
      <p:sp>
        <p:nvSpPr>
          <p:cNvPr id="1256" name="TextBox 1255"/>
          <p:cNvSpPr txBox="1"/>
          <p:nvPr/>
        </p:nvSpPr>
        <p:spPr>
          <a:xfrm>
            <a:off x="22860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Adham </a:t>
            </a:r>
            <a:br/>
            <a:r>
              <a:t>Soliman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57" name="TextBox 1256"/>
          <p:cNvSpPr txBox="1"/>
          <p:nvPr/>
        </p:nvSpPr>
        <p:spPr>
          <a:xfrm>
            <a:off x="22860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8" name="Picture 1257" descr="ipp_ali_nafie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1737360"/>
            <a:ext cx="548640" cy="548640"/>
          </a:xfrm>
          <a:prstGeom prst="rect">
            <a:avLst/>
          </a:prstGeom>
        </p:spPr>
      </p:pic>
      <p:sp>
        <p:nvSpPr>
          <p:cNvPr id="1259" name="TextBox 1258"/>
          <p:cNvSpPr txBox="1"/>
          <p:nvPr/>
        </p:nvSpPr>
        <p:spPr>
          <a:xfrm>
            <a:off x="32004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Ali </a:t>
            </a:r>
            <a:br/>
            <a:r>
              <a:t>Nafie</a:t>
            </a:r>
            <a:br/>
            <a:r>
              <a:t>Analyst</a:t>
            </a:r>
          </a:p>
        </p:txBody>
      </p:sp>
      <p:sp>
        <p:nvSpPr>
          <p:cNvPr id="1260" name="TextBox 1259"/>
          <p:cNvSpPr txBox="1"/>
          <p:nvPr/>
        </p:nvSpPr>
        <p:spPr>
          <a:xfrm>
            <a:off x="32004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1" name="Picture 1260" descr="ipp_amr_aref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14800" y="1737360"/>
            <a:ext cx="548640" cy="548640"/>
          </a:xfrm>
          <a:prstGeom prst="rect">
            <a:avLst/>
          </a:prstGeom>
        </p:spPr>
      </p:pic>
      <p:sp>
        <p:nvSpPr>
          <p:cNvPr id="1262" name="TextBox 1261"/>
          <p:cNvSpPr txBox="1"/>
          <p:nvPr/>
        </p:nvSpPr>
        <p:spPr>
          <a:xfrm>
            <a:off x="41148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Amr </a:t>
            </a:r>
            <a:br/>
            <a:r>
              <a:t>Aref</a:t>
            </a:r>
            <a:br/>
            <a:r>
              <a:t>Analyst</a:t>
            </a:r>
          </a:p>
        </p:txBody>
      </p:sp>
      <p:sp>
        <p:nvSpPr>
          <p:cNvPr id="1263" name="TextBox 1262"/>
          <p:cNvSpPr txBox="1"/>
          <p:nvPr/>
        </p:nvSpPr>
        <p:spPr>
          <a:xfrm>
            <a:off x="41148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4" name="Picture 1263" descr="ipp_antoine_philip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29200" y="1737360"/>
            <a:ext cx="548640" cy="548640"/>
          </a:xfrm>
          <a:prstGeom prst="rect">
            <a:avLst/>
          </a:prstGeom>
        </p:spPr>
      </p:pic>
      <p:sp>
        <p:nvSpPr>
          <p:cNvPr id="1265" name="TextBox 1264"/>
          <p:cNvSpPr txBox="1"/>
          <p:nvPr/>
        </p:nvSpPr>
        <p:spPr>
          <a:xfrm>
            <a:off x="50292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Antoine </a:t>
            </a:r>
            <a:br/>
            <a:r>
              <a:t>Philip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66" name="TextBox 1265"/>
          <p:cNvSpPr txBox="1"/>
          <p:nvPr/>
        </p:nvSpPr>
        <p:spPr>
          <a:xfrm>
            <a:off x="50292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7" name="Picture 1266" descr="ipp_eman_abdelmohsen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43600" y="1737360"/>
            <a:ext cx="548640" cy="548640"/>
          </a:xfrm>
          <a:prstGeom prst="rect">
            <a:avLst/>
          </a:prstGeom>
        </p:spPr>
      </p:pic>
      <p:sp>
        <p:nvSpPr>
          <p:cNvPr id="1268" name="TextBox 1267"/>
          <p:cNvSpPr txBox="1"/>
          <p:nvPr/>
        </p:nvSpPr>
        <p:spPr>
          <a:xfrm>
            <a:off x="59436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Eman </a:t>
            </a:r>
            <a:br/>
            <a:r>
              <a:t>Abdelmohsen</a:t>
            </a:r>
            <a:br/>
            <a:r>
              <a:t>Associate</a:t>
            </a:r>
          </a:p>
        </p:txBody>
      </p:sp>
      <p:sp>
        <p:nvSpPr>
          <p:cNvPr id="1269" name="TextBox 1268"/>
          <p:cNvSpPr txBox="1"/>
          <p:nvPr/>
        </p:nvSpPr>
        <p:spPr>
          <a:xfrm>
            <a:off x="59436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0" name="Picture 1269" descr="ipp_engy_ellaithy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58000" y="1737360"/>
            <a:ext cx="548640" cy="548640"/>
          </a:xfrm>
          <a:prstGeom prst="rect">
            <a:avLst/>
          </a:prstGeom>
        </p:spPr>
      </p:pic>
      <p:sp>
        <p:nvSpPr>
          <p:cNvPr id="1271" name="TextBox 1270"/>
          <p:cNvSpPr txBox="1"/>
          <p:nvPr/>
        </p:nvSpPr>
        <p:spPr>
          <a:xfrm>
            <a:off x="68580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Engy </a:t>
            </a:r>
            <a:br/>
            <a:r>
              <a:t>Ellaith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72" name="TextBox 1271"/>
          <p:cNvSpPr txBox="1"/>
          <p:nvPr/>
        </p:nvSpPr>
        <p:spPr>
          <a:xfrm>
            <a:off x="68580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3" name="Picture 1272" descr="ipp_ghada_selim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72400" y="1737360"/>
            <a:ext cx="548640" cy="548640"/>
          </a:xfrm>
          <a:prstGeom prst="rect">
            <a:avLst/>
          </a:prstGeom>
        </p:spPr>
      </p:pic>
      <p:sp>
        <p:nvSpPr>
          <p:cNvPr id="1274" name="TextBox 1273"/>
          <p:cNvSpPr txBox="1"/>
          <p:nvPr/>
        </p:nvSpPr>
        <p:spPr>
          <a:xfrm>
            <a:off x="77724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Ghada </a:t>
            </a:r>
            <a:br/>
            <a:r>
              <a:t>Selim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75" name="TextBox 1274"/>
          <p:cNvSpPr txBox="1"/>
          <p:nvPr/>
        </p:nvSpPr>
        <p:spPr>
          <a:xfrm>
            <a:off x="77724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6" name="Picture 1275" descr="ipp_hadir_ali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86800" y="1737360"/>
            <a:ext cx="548640" cy="548640"/>
          </a:xfrm>
          <a:prstGeom prst="rect">
            <a:avLst/>
          </a:prstGeom>
        </p:spPr>
      </p:pic>
      <p:sp>
        <p:nvSpPr>
          <p:cNvPr id="1277" name="TextBox 1276"/>
          <p:cNvSpPr txBox="1"/>
          <p:nvPr/>
        </p:nvSpPr>
        <p:spPr>
          <a:xfrm>
            <a:off x="86868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Hadir Ali</a:t>
            </a:r>
            <a:br/>
            <a:r>
              <a:t>Associate</a:t>
            </a:r>
          </a:p>
        </p:txBody>
      </p:sp>
      <p:sp>
        <p:nvSpPr>
          <p:cNvPr id="1278" name="TextBox 1277"/>
          <p:cNvSpPr txBox="1"/>
          <p:nvPr/>
        </p:nvSpPr>
        <p:spPr>
          <a:xfrm>
            <a:off x="86868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9" name="Picture 1278" descr="ipp_hussein_gouda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601200" y="1737360"/>
            <a:ext cx="548640" cy="548640"/>
          </a:xfrm>
          <a:prstGeom prst="rect">
            <a:avLst/>
          </a:prstGeom>
        </p:spPr>
      </p:pic>
      <p:sp>
        <p:nvSpPr>
          <p:cNvPr id="1280" name="TextBox 1279"/>
          <p:cNvSpPr txBox="1"/>
          <p:nvPr/>
        </p:nvSpPr>
        <p:spPr>
          <a:xfrm>
            <a:off x="96012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Hussein Gouda</a:t>
            </a:r>
            <a:br/>
            <a:r>
              <a:t>Analyst</a:t>
            </a:r>
          </a:p>
        </p:txBody>
      </p:sp>
      <p:sp>
        <p:nvSpPr>
          <p:cNvPr id="1281" name="TextBox 1280"/>
          <p:cNvSpPr txBox="1"/>
          <p:nvPr/>
        </p:nvSpPr>
        <p:spPr>
          <a:xfrm>
            <a:off x="96012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2" name="Picture 1281" descr="ipp_malak_elkafrawy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15600" y="1737360"/>
            <a:ext cx="548640" cy="548640"/>
          </a:xfrm>
          <a:prstGeom prst="rect">
            <a:avLst/>
          </a:prstGeom>
        </p:spPr>
      </p:pic>
      <p:sp>
        <p:nvSpPr>
          <p:cNvPr id="1283" name="TextBox 1282"/>
          <p:cNvSpPr txBox="1"/>
          <p:nvPr/>
        </p:nvSpPr>
        <p:spPr>
          <a:xfrm>
            <a:off x="105156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lak </a:t>
            </a:r>
            <a:br/>
            <a:r>
              <a:t>ElKafrawy</a:t>
            </a:r>
            <a:br/>
            <a:r>
              <a:t>Analyst</a:t>
            </a:r>
          </a:p>
        </p:txBody>
      </p:sp>
      <p:sp>
        <p:nvSpPr>
          <p:cNvPr id="1284" name="TextBox 1283"/>
          <p:cNvSpPr txBox="1"/>
          <p:nvPr/>
        </p:nvSpPr>
        <p:spPr>
          <a:xfrm>
            <a:off x="105156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5" name="Picture 1284" descr="ipp_malak_hany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430000" y="1737360"/>
            <a:ext cx="548640" cy="548640"/>
          </a:xfrm>
          <a:prstGeom prst="rect">
            <a:avLst/>
          </a:prstGeom>
        </p:spPr>
      </p:pic>
      <p:sp>
        <p:nvSpPr>
          <p:cNvPr id="1286" name="TextBox 1285"/>
          <p:cNvSpPr txBox="1"/>
          <p:nvPr/>
        </p:nvSpPr>
        <p:spPr>
          <a:xfrm>
            <a:off x="11430000" y="21031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lak </a:t>
            </a:r>
            <a:br/>
            <a:r>
              <a:t>Han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87" name="TextBox 1286"/>
          <p:cNvSpPr txBox="1"/>
          <p:nvPr/>
        </p:nvSpPr>
        <p:spPr>
          <a:xfrm>
            <a:off x="11430000" y="20421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8" name="Picture 1287" descr="ipp_mane_djizmedjian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57200" y="3108960"/>
            <a:ext cx="548640" cy="548640"/>
          </a:xfrm>
          <a:prstGeom prst="rect">
            <a:avLst/>
          </a:prstGeom>
        </p:spPr>
      </p:pic>
      <p:sp>
        <p:nvSpPr>
          <p:cNvPr id="1289" name="TextBox 1288"/>
          <p:cNvSpPr txBox="1"/>
          <p:nvPr/>
        </p:nvSpPr>
        <p:spPr>
          <a:xfrm>
            <a:off x="4572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ne </a:t>
            </a:r>
            <a:br/>
            <a:r>
              <a:t>Djizmedjian</a:t>
            </a:r>
            <a:br/>
            <a:r>
              <a:t>Associate</a:t>
            </a:r>
          </a:p>
        </p:txBody>
      </p:sp>
      <p:sp>
        <p:nvSpPr>
          <p:cNvPr id="1290" name="TextBox 1289"/>
          <p:cNvSpPr txBox="1"/>
          <p:nvPr/>
        </p:nvSpPr>
        <p:spPr>
          <a:xfrm>
            <a:off x="4572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1" name="Picture 1290" descr="ipp_mariam_shabana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371600" y="3108960"/>
            <a:ext cx="548640" cy="548640"/>
          </a:xfrm>
          <a:prstGeom prst="rect">
            <a:avLst/>
          </a:prstGeom>
        </p:spPr>
      </p:pic>
      <p:sp>
        <p:nvSpPr>
          <p:cNvPr id="1292" name="TextBox 1291"/>
          <p:cNvSpPr txBox="1"/>
          <p:nvPr/>
        </p:nvSpPr>
        <p:spPr>
          <a:xfrm>
            <a:off x="13716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riam </a:t>
            </a:r>
            <a:br/>
            <a:r>
              <a:t>Shaban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93" name="TextBox 1292"/>
          <p:cNvSpPr txBox="1"/>
          <p:nvPr/>
        </p:nvSpPr>
        <p:spPr>
          <a:xfrm>
            <a:off x="13716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4" name="Picture 1293" descr="ipp_marwan_elseidy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286000" y="3108960"/>
            <a:ext cx="548640" cy="548640"/>
          </a:xfrm>
          <a:prstGeom prst="rect">
            <a:avLst/>
          </a:prstGeom>
        </p:spPr>
      </p:pic>
      <p:sp>
        <p:nvSpPr>
          <p:cNvPr id="1295" name="TextBox 1294"/>
          <p:cNvSpPr txBox="1"/>
          <p:nvPr/>
        </p:nvSpPr>
        <p:spPr>
          <a:xfrm>
            <a:off x="22860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arwan </a:t>
            </a:r>
            <a:br/>
            <a:r>
              <a:t>Elseid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96" name="TextBox 1295"/>
          <p:cNvSpPr txBox="1"/>
          <p:nvPr/>
        </p:nvSpPr>
        <p:spPr>
          <a:xfrm>
            <a:off x="22860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7" name="Picture 1296" descr="ipp_mina_ibrahim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200400" y="3108960"/>
            <a:ext cx="548640" cy="548640"/>
          </a:xfrm>
          <a:prstGeom prst="rect">
            <a:avLst/>
          </a:prstGeom>
        </p:spPr>
      </p:pic>
      <p:sp>
        <p:nvSpPr>
          <p:cNvPr id="1298" name="TextBox 1297"/>
          <p:cNvSpPr txBox="1"/>
          <p:nvPr/>
        </p:nvSpPr>
        <p:spPr>
          <a:xfrm>
            <a:off x="32004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ina </a:t>
            </a:r>
            <a:br/>
            <a:r>
              <a:t>Ibrahim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99" name="TextBox 1298"/>
          <p:cNvSpPr txBox="1"/>
          <p:nvPr/>
        </p:nvSpPr>
        <p:spPr>
          <a:xfrm>
            <a:off x="32004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0" name="Picture 1299" descr="ipp_mira_rofail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114800" y="3108960"/>
            <a:ext cx="548640" cy="548640"/>
          </a:xfrm>
          <a:prstGeom prst="rect">
            <a:avLst/>
          </a:prstGeom>
        </p:spPr>
      </p:pic>
      <p:sp>
        <p:nvSpPr>
          <p:cNvPr id="1301" name="TextBox 1300"/>
          <p:cNvSpPr txBox="1"/>
          <p:nvPr/>
        </p:nvSpPr>
        <p:spPr>
          <a:xfrm>
            <a:off x="41148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ira </a:t>
            </a:r>
            <a:br/>
            <a:r>
              <a:t>Rofail</a:t>
            </a:r>
            <a:br/>
            <a:r>
              <a:t>Associate</a:t>
            </a:r>
          </a:p>
        </p:txBody>
      </p:sp>
      <p:sp>
        <p:nvSpPr>
          <p:cNvPr id="1302" name="TextBox 1301"/>
          <p:cNvSpPr txBox="1"/>
          <p:nvPr/>
        </p:nvSpPr>
        <p:spPr>
          <a:xfrm>
            <a:off x="41148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3" name="Picture 1302" descr="ipp_mohamed_mahrous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029200" y="3108960"/>
            <a:ext cx="548640" cy="548640"/>
          </a:xfrm>
          <a:prstGeom prst="rect">
            <a:avLst/>
          </a:prstGeom>
        </p:spPr>
      </p:pic>
      <p:sp>
        <p:nvSpPr>
          <p:cNvPr id="1304" name="TextBox 1303"/>
          <p:cNvSpPr txBox="1"/>
          <p:nvPr/>
        </p:nvSpPr>
        <p:spPr>
          <a:xfrm>
            <a:off x="50292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ohamed </a:t>
            </a:r>
            <a:br/>
            <a:r>
              <a:t>Mahrous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05" name="TextBox 1304"/>
          <p:cNvSpPr txBox="1"/>
          <p:nvPr/>
        </p:nvSpPr>
        <p:spPr>
          <a:xfrm>
            <a:off x="50292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6" name="Picture 1305" descr="ipp_moheb_iskandar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943600" y="3108960"/>
            <a:ext cx="548640" cy="548640"/>
          </a:xfrm>
          <a:prstGeom prst="rect">
            <a:avLst/>
          </a:prstGeom>
        </p:spPr>
      </p:pic>
      <p:sp>
        <p:nvSpPr>
          <p:cNvPr id="1307" name="TextBox 1306"/>
          <p:cNvSpPr txBox="1"/>
          <p:nvPr/>
        </p:nvSpPr>
        <p:spPr>
          <a:xfrm>
            <a:off x="59436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Moheb </a:t>
            </a:r>
            <a:br/>
            <a:r>
              <a:t>Iskandar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08" name="TextBox 1307"/>
          <p:cNvSpPr txBox="1"/>
          <p:nvPr/>
        </p:nvSpPr>
        <p:spPr>
          <a:xfrm>
            <a:off x="59436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9" name="Picture 1308" descr="ipp_nadine_haitham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858000" y="3108960"/>
            <a:ext cx="548640" cy="548640"/>
          </a:xfrm>
          <a:prstGeom prst="rect">
            <a:avLst/>
          </a:prstGeom>
        </p:spPr>
      </p:pic>
      <p:sp>
        <p:nvSpPr>
          <p:cNvPr id="1310" name="TextBox 1309"/>
          <p:cNvSpPr txBox="1"/>
          <p:nvPr/>
        </p:nvSpPr>
        <p:spPr>
          <a:xfrm>
            <a:off x="68580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Nadine </a:t>
            </a:r>
            <a:br/>
            <a:r>
              <a:t>Haitham</a:t>
            </a:r>
            <a:br/>
            <a:r>
              <a:t>Analyst</a:t>
            </a:r>
          </a:p>
        </p:txBody>
      </p:sp>
      <p:sp>
        <p:nvSpPr>
          <p:cNvPr id="1311" name="TextBox 1310"/>
          <p:cNvSpPr txBox="1"/>
          <p:nvPr/>
        </p:nvSpPr>
        <p:spPr>
          <a:xfrm>
            <a:off x="68580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2" name="Picture 1311" descr="ipp_noor_abdelgawad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772400" y="3108960"/>
            <a:ext cx="548640" cy="548640"/>
          </a:xfrm>
          <a:prstGeom prst="rect">
            <a:avLst/>
          </a:prstGeom>
        </p:spPr>
      </p:pic>
      <p:sp>
        <p:nvSpPr>
          <p:cNvPr id="1313" name="TextBox 1312"/>
          <p:cNvSpPr txBox="1"/>
          <p:nvPr/>
        </p:nvSpPr>
        <p:spPr>
          <a:xfrm>
            <a:off x="77724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Noor </a:t>
            </a:r>
            <a:br/>
            <a:r>
              <a:t>Abdelgawad</a:t>
            </a:r>
            <a:br/>
            <a:r>
              <a:t>Analyst</a:t>
            </a:r>
          </a:p>
        </p:txBody>
      </p:sp>
      <p:sp>
        <p:nvSpPr>
          <p:cNvPr id="1314" name="TextBox 1313"/>
          <p:cNvSpPr txBox="1"/>
          <p:nvPr/>
        </p:nvSpPr>
        <p:spPr>
          <a:xfrm>
            <a:off x="77724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5" name="Picture 1314" descr="ipp_omar_abou_el_gheit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686800" y="3108960"/>
            <a:ext cx="548640" cy="548640"/>
          </a:xfrm>
          <a:prstGeom prst="rect">
            <a:avLst/>
          </a:prstGeom>
        </p:spPr>
      </p:pic>
      <p:sp>
        <p:nvSpPr>
          <p:cNvPr id="1316" name="TextBox 1315"/>
          <p:cNvSpPr txBox="1"/>
          <p:nvPr/>
        </p:nvSpPr>
        <p:spPr>
          <a:xfrm>
            <a:off x="86868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Omar Abou </a:t>
            </a:r>
            <a:br/>
            <a:r>
              <a:t>El Gheit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17" name="TextBox 1316"/>
          <p:cNvSpPr txBox="1"/>
          <p:nvPr/>
        </p:nvSpPr>
        <p:spPr>
          <a:xfrm>
            <a:off x="86868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8" name="Picture 1317" descr="ipp_omar_el_kayal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601200" y="3108960"/>
            <a:ext cx="548640" cy="548640"/>
          </a:xfrm>
          <a:prstGeom prst="rect">
            <a:avLst/>
          </a:prstGeom>
        </p:spPr>
      </p:pic>
      <p:sp>
        <p:nvSpPr>
          <p:cNvPr id="1319" name="TextBox 1318"/>
          <p:cNvSpPr txBox="1"/>
          <p:nvPr/>
        </p:nvSpPr>
        <p:spPr>
          <a:xfrm>
            <a:off x="96012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Omar El </a:t>
            </a:r>
            <a:br/>
            <a:r>
              <a:t>Kayal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20" name="TextBox 1319"/>
          <p:cNvSpPr txBox="1"/>
          <p:nvPr/>
        </p:nvSpPr>
        <p:spPr>
          <a:xfrm>
            <a:off x="96012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1" name="Picture 1320" descr="ipp_omar_wahban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0515600" y="3108960"/>
            <a:ext cx="548640" cy="548640"/>
          </a:xfrm>
          <a:prstGeom prst="rect">
            <a:avLst/>
          </a:prstGeom>
        </p:spPr>
      </p:pic>
      <p:sp>
        <p:nvSpPr>
          <p:cNvPr id="1322" name="TextBox 1321"/>
          <p:cNvSpPr txBox="1"/>
          <p:nvPr/>
        </p:nvSpPr>
        <p:spPr>
          <a:xfrm>
            <a:off x="105156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Omar </a:t>
            </a:r>
            <a:br/>
            <a:r>
              <a:t>Wahban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23" name="TextBox 1322"/>
          <p:cNvSpPr txBox="1"/>
          <p:nvPr/>
        </p:nvSpPr>
        <p:spPr>
          <a:xfrm>
            <a:off x="105156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4" name="Picture 1323" descr="ipp_rawan_youssry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1430000" y="3108960"/>
            <a:ext cx="548640" cy="548640"/>
          </a:xfrm>
          <a:prstGeom prst="rect">
            <a:avLst/>
          </a:prstGeom>
        </p:spPr>
      </p:pic>
      <p:sp>
        <p:nvSpPr>
          <p:cNvPr id="1325" name="TextBox 1324"/>
          <p:cNvSpPr txBox="1"/>
          <p:nvPr/>
        </p:nvSpPr>
        <p:spPr>
          <a:xfrm>
            <a:off x="11430000" y="34747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Rawan </a:t>
            </a:r>
            <a:br/>
            <a:r>
              <a:t>Youssry</a:t>
            </a:r>
            <a:br/>
            <a:r>
              <a:t>Analyst</a:t>
            </a:r>
          </a:p>
        </p:txBody>
      </p:sp>
      <p:sp>
        <p:nvSpPr>
          <p:cNvPr id="1326" name="TextBox 1325"/>
          <p:cNvSpPr txBox="1"/>
          <p:nvPr/>
        </p:nvSpPr>
        <p:spPr>
          <a:xfrm>
            <a:off x="11430000" y="34137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7" name="Picture 1326" descr="ipp_reem_el_maghraby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57200" y="4480560"/>
            <a:ext cx="548640" cy="548640"/>
          </a:xfrm>
          <a:prstGeom prst="rect">
            <a:avLst/>
          </a:prstGeom>
        </p:spPr>
      </p:pic>
      <p:sp>
        <p:nvSpPr>
          <p:cNvPr id="1328" name="TextBox 1327"/>
          <p:cNvSpPr txBox="1"/>
          <p:nvPr/>
        </p:nvSpPr>
        <p:spPr>
          <a:xfrm>
            <a:off x="4572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Reem El </a:t>
            </a:r>
            <a:br/>
            <a:r>
              <a:t>Maghrab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29" name="TextBox 1328"/>
          <p:cNvSpPr txBox="1"/>
          <p:nvPr/>
        </p:nvSpPr>
        <p:spPr>
          <a:xfrm>
            <a:off x="4572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0" name="Picture 1329" descr="ipp_sahar_badr.png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371600" y="4480560"/>
            <a:ext cx="548640" cy="548640"/>
          </a:xfrm>
          <a:prstGeom prst="rect">
            <a:avLst/>
          </a:prstGeom>
        </p:spPr>
      </p:pic>
      <p:sp>
        <p:nvSpPr>
          <p:cNvPr id="1331" name="TextBox 1330"/>
          <p:cNvSpPr txBox="1"/>
          <p:nvPr/>
        </p:nvSpPr>
        <p:spPr>
          <a:xfrm>
            <a:off x="13716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Sahar </a:t>
            </a:r>
            <a:br/>
            <a:r>
              <a:t>Badr</a:t>
            </a:r>
            <a:br/>
            <a:r>
              <a:t>Analyst</a:t>
            </a:r>
          </a:p>
        </p:txBody>
      </p:sp>
      <p:sp>
        <p:nvSpPr>
          <p:cNvPr id="1332" name="TextBox 1331"/>
          <p:cNvSpPr txBox="1"/>
          <p:nvPr/>
        </p:nvSpPr>
        <p:spPr>
          <a:xfrm>
            <a:off x="13716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3" name="Picture 1332" descr="ipp_salma_ali.png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2286000" y="4480560"/>
            <a:ext cx="548640" cy="548640"/>
          </a:xfrm>
          <a:prstGeom prst="rect">
            <a:avLst/>
          </a:prstGeom>
        </p:spPr>
      </p:pic>
      <p:sp>
        <p:nvSpPr>
          <p:cNvPr id="1334" name="TextBox 1333"/>
          <p:cNvSpPr txBox="1"/>
          <p:nvPr/>
        </p:nvSpPr>
        <p:spPr>
          <a:xfrm>
            <a:off x="22860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 </a:t>
            </a:r>
            <a:br/>
            <a:r>
              <a:t>Salma Ali</a:t>
            </a:r>
            <a:br/>
            <a:r>
              <a:t>Analyst</a:t>
            </a:r>
          </a:p>
        </p:txBody>
      </p:sp>
      <p:sp>
        <p:nvSpPr>
          <p:cNvPr id="1335" name="TextBox 1334"/>
          <p:cNvSpPr txBox="1"/>
          <p:nvPr/>
        </p:nvSpPr>
        <p:spPr>
          <a:xfrm>
            <a:off x="22860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6" name="Picture 1335" descr="ipp_salma_hesham.png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200400" y="4480560"/>
            <a:ext cx="548640" cy="548640"/>
          </a:xfrm>
          <a:prstGeom prst="rect">
            <a:avLst/>
          </a:prstGeom>
        </p:spPr>
      </p:pic>
      <p:sp>
        <p:nvSpPr>
          <p:cNvPr id="1337" name="TextBox 1336"/>
          <p:cNvSpPr txBox="1"/>
          <p:nvPr/>
        </p:nvSpPr>
        <p:spPr>
          <a:xfrm>
            <a:off x="32004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Salma </a:t>
            </a:r>
            <a:br/>
            <a:r>
              <a:t>Hesham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38" name="TextBox 1337"/>
          <p:cNvSpPr txBox="1"/>
          <p:nvPr/>
        </p:nvSpPr>
        <p:spPr>
          <a:xfrm>
            <a:off x="32004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9" name="Picture 1338" descr="ipp_shahd_ezzat.png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114800" y="4480560"/>
            <a:ext cx="548640" cy="548640"/>
          </a:xfrm>
          <a:prstGeom prst="rect">
            <a:avLst/>
          </a:prstGeom>
        </p:spPr>
      </p:pic>
      <p:sp>
        <p:nvSpPr>
          <p:cNvPr id="1340" name="TextBox 1339"/>
          <p:cNvSpPr txBox="1"/>
          <p:nvPr/>
        </p:nvSpPr>
        <p:spPr>
          <a:xfrm>
            <a:off x="41148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Shahd </a:t>
            </a:r>
            <a:br/>
            <a:r>
              <a:t>Ezzat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41" name="TextBox 1340"/>
          <p:cNvSpPr txBox="1"/>
          <p:nvPr/>
        </p:nvSpPr>
        <p:spPr>
          <a:xfrm>
            <a:off x="41148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42" name="Picture 1341" descr="ipp_shehab_kamal.png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5029200" y="4480560"/>
            <a:ext cx="548640" cy="548640"/>
          </a:xfrm>
          <a:prstGeom prst="rect">
            <a:avLst/>
          </a:prstGeom>
        </p:spPr>
      </p:pic>
      <p:sp>
        <p:nvSpPr>
          <p:cNvPr id="1343" name="TextBox 1342"/>
          <p:cNvSpPr txBox="1"/>
          <p:nvPr/>
        </p:nvSpPr>
        <p:spPr>
          <a:xfrm>
            <a:off x="50292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Shehab </a:t>
            </a:r>
            <a:br/>
            <a:r>
              <a:t>Kamal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44" name="TextBox 1343"/>
          <p:cNvSpPr txBox="1"/>
          <p:nvPr/>
        </p:nvSpPr>
        <p:spPr>
          <a:xfrm>
            <a:off x="50292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45" name="Picture 1344" descr="ipp_youssef_badreddine.png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5943600" y="4480560"/>
            <a:ext cx="548640" cy="548640"/>
          </a:xfrm>
          <a:prstGeom prst="rect">
            <a:avLst/>
          </a:prstGeom>
        </p:spPr>
      </p:pic>
      <p:sp>
        <p:nvSpPr>
          <p:cNvPr id="1346" name="TextBox 1345"/>
          <p:cNvSpPr txBox="1"/>
          <p:nvPr/>
        </p:nvSpPr>
        <p:spPr>
          <a:xfrm>
            <a:off x="5943600" y="484632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600"/>
            </a:pPr>
            <a:r>
              <a:t>Youssef </a:t>
            </a:r>
            <a:br/>
            <a:r>
              <a:t>Badreddine</a:t>
            </a:r>
            <a:br/>
            <a:r>
              <a:t>Analyst</a:t>
            </a:r>
          </a:p>
        </p:txBody>
      </p:sp>
      <p:sp>
        <p:nvSpPr>
          <p:cNvPr id="1347" name="TextBox 1346"/>
          <p:cNvSpPr txBox="1"/>
          <p:nvPr/>
        </p:nvSpPr>
        <p:spPr>
          <a:xfrm>
            <a:off x="5943600" y="4785360"/>
            <a:ext cx="27432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48" name="Picture 1347" descr="ipp_alejandro_nava_chan.png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57200" y="5669280"/>
            <a:ext cx="640080" cy="640080"/>
          </a:xfrm>
          <a:prstGeom prst="rect">
            <a:avLst/>
          </a:prstGeom>
        </p:spPr>
      </p:pic>
      <p:sp>
        <p:nvSpPr>
          <p:cNvPr id="1349" name="TextBox 1348"/>
          <p:cNvSpPr txBox="1"/>
          <p:nvPr/>
        </p:nvSpPr>
        <p:spPr>
          <a:xfrm>
            <a:off x="4572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lejandro </a:t>
            </a:r>
            <a:br/>
            <a:r>
              <a:t>Nava Chan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50" name="TextBox 1349"/>
          <p:cNvSpPr txBox="1"/>
          <p:nvPr/>
        </p:nvSpPr>
        <p:spPr>
          <a:xfrm>
            <a:off x="4572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51" name="Picture 1350" descr="ipp_ana_sofia_macias_amador.png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371600" y="5669280"/>
            <a:ext cx="640080" cy="640080"/>
          </a:xfrm>
          <a:prstGeom prst="rect">
            <a:avLst/>
          </a:prstGeom>
        </p:spPr>
      </p:pic>
      <p:sp>
        <p:nvSpPr>
          <p:cNvPr id="1352" name="TextBox 1351"/>
          <p:cNvSpPr txBox="1"/>
          <p:nvPr/>
        </p:nvSpPr>
        <p:spPr>
          <a:xfrm>
            <a:off x="13716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na Sofia </a:t>
            </a:r>
            <a:br/>
            <a:r>
              <a:t>Macias Amador</a:t>
            </a:r>
            <a:br/>
            <a:r>
              <a:t>Analyst</a:t>
            </a:r>
          </a:p>
        </p:txBody>
      </p:sp>
      <p:sp>
        <p:nvSpPr>
          <p:cNvPr id="1353" name="TextBox 1352"/>
          <p:cNvSpPr txBox="1"/>
          <p:nvPr/>
        </p:nvSpPr>
        <p:spPr>
          <a:xfrm>
            <a:off x="13716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54" name="Picture 1353" descr="ipp_angel_alexis_flores_portillo.png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2286000" y="5669280"/>
            <a:ext cx="640080" cy="640080"/>
          </a:xfrm>
          <a:prstGeom prst="rect">
            <a:avLst/>
          </a:prstGeom>
        </p:spPr>
      </p:pic>
      <p:sp>
        <p:nvSpPr>
          <p:cNvPr id="1355" name="TextBox 1354"/>
          <p:cNvSpPr txBox="1"/>
          <p:nvPr/>
        </p:nvSpPr>
        <p:spPr>
          <a:xfrm>
            <a:off x="22860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ngel Alexis </a:t>
            </a:r>
            <a:br/>
            <a:r>
              <a:t>Flores Portillo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56" name="TextBox 1355"/>
          <p:cNvSpPr txBox="1"/>
          <p:nvPr/>
        </p:nvSpPr>
        <p:spPr>
          <a:xfrm>
            <a:off x="22860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57" name="Picture 1356" descr="ipp_cesar_tinoco_avila.png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200400" y="5669280"/>
            <a:ext cx="640080" cy="640080"/>
          </a:xfrm>
          <a:prstGeom prst="rect">
            <a:avLst/>
          </a:prstGeom>
        </p:spPr>
      </p:pic>
      <p:sp>
        <p:nvSpPr>
          <p:cNvPr id="1358" name="TextBox 1357"/>
          <p:cNvSpPr txBox="1"/>
          <p:nvPr/>
        </p:nvSpPr>
        <p:spPr>
          <a:xfrm>
            <a:off x="32004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Cesar </a:t>
            </a:r>
            <a:br/>
            <a:r>
              <a:t>Tinoco Avil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59" name="TextBox 1358"/>
          <p:cNvSpPr txBox="1"/>
          <p:nvPr/>
        </p:nvSpPr>
        <p:spPr>
          <a:xfrm>
            <a:off x="32004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60" name="Picture 1359" descr="ipp_fabiola_montano_hernández.png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4114800" y="5669280"/>
            <a:ext cx="640080" cy="640080"/>
          </a:xfrm>
          <a:prstGeom prst="rect">
            <a:avLst/>
          </a:prstGeom>
        </p:spPr>
      </p:pic>
      <p:sp>
        <p:nvSpPr>
          <p:cNvPr id="1361" name="TextBox 1360"/>
          <p:cNvSpPr txBox="1"/>
          <p:nvPr/>
        </p:nvSpPr>
        <p:spPr>
          <a:xfrm>
            <a:off x="41148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abiola </a:t>
            </a:r>
            <a:br/>
            <a:r>
              <a:t>Montano Hernández</a:t>
            </a:r>
            <a:br/>
            <a:r>
              <a:t>Analyst</a:t>
            </a:r>
          </a:p>
        </p:txBody>
      </p:sp>
      <p:sp>
        <p:nvSpPr>
          <p:cNvPr id="1362" name="TextBox 1361"/>
          <p:cNvSpPr txBox="1"/>
          <p:nvPr/>
        </p:nvSpPr>
        <p:spPr>
          <a:xfrm>
            <a:off x="41148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63" name="Picture 1362" descr="ipp_javier_alexis_aranda_salceda.png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5029200" y="5669280"/>
            <a:ext cx="640080" cy="640080"/>
          </a:xfrm>
          <a:prstGeom prst="rect">
            <a:avLst/>
          </a:prstGeom>
        </p:spPr>
      </p:pic>
      <p:sp>
        <p:nvSpPr>
          <p:cNvPr id="1364" name="TextBox 1363"/>
          <p:cNvSpPr txBox="1"/>
          <p:nvPr/>
        </p:nvSpPr>
        <p:spPr>
          <a:xfrm>
            <a:off x="50292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avier Alexis </a:t>
            </a:r>
            <a:br/>
            <a:r>
              <a:t>Aranda Salced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65" name="TextBox 1364"/>
          <p:cNvSpPr txBox="1"/>
          <p:nvPr/>
        </p:nvSpPr>
        <p:spPr>
          <a:xfrm>
            <a:off x="50292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66" name="Picture 1365" descr="ipp_jorge_sierra_villarroel.png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5943600" y="5669280"/>
            <a:ext cx="640080" cy="640080"/>
          </a:xfrm>
          <a:prstGeom prst="rect">
            <a:avLst/>
          </a:prstGeom>
        </p:spPr>
      </p:pic>
      <p:sp>
        <p:nvSpPr>
          <p:cNvPr id="1367" name="TextBox 1366"/>
          <p:cNvSpPr txBox="1"/>
          <p:nvPr/>
        </p:nvSpPr>
        <p:spPr>
          <a:xfrm>
            <a:off x="59436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orge Sierra </a:t>
            </a:r>
            <a:br/>
            <a:r>
              <a:t>Villarroel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68" name="TextBox 1367"/>
          <p:cNvSpPr txBox="1"/>
          <p:nvPr/>
        </p:nvSpPr>
        <p:spPr>
          <a:xfrm>
            <a:off x="59436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69" name="Picture 1368" descr="ipp_leonardo_santos.png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6858000" y="5669280"/>
            <a:ext cx="640080" cy="640080"/>
          </a:xfrm>
          <a:prstGeom prst="rect">
            <a:avLst/>
          </a:prstGeom>
        </p:spPr>
      </p:pic>
      <p:sp>
        <p:nvSpPr>
          <p:cNvPr id="1370" name="TextBox 1369"/>
          <p:cNvSpPr txBox="1"/>
          <p:nvPr/>
        </p:nvSpPr>
        <p:spPr>
          <a:xfrm>
            <a:off x="68580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Leonardo Santo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71" name="TextBox 1370"/>
          <p:cNvSpPr txBox="1"/>
          <p:nvPr/>
        </p:nvSpPr>
        <p:spPr>
          <a:xfrm>
            <a:off x="68580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72" name="Picture 1371" descr="ipp_maría_antonieta_yarrington_morales.png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7772400" y="5669280"/>
            <a:ext cx="640080" cy="640080"/>
          </a:xfrm>
          <a:prstGeom prst="rect">
            <a:avLst/>
          </a:prstGeom>
        </p:spPr>
      </p:pic>
      <p:sp>
        <p:nvSpPr>
          <p:cNvPr id="1373" name="TextBox 1372"/>
          <p:cNvSpPr txBox="1"/>
          <p:nvPr/>
        </p:nvSpPr>
        <p:spPr>
          <a:xfrm>
            <a:off x="77724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ría Antonieta </a:t>
            </a:r>
            <a:br/>
            <a:r>
              <a:t>Yarrington Morale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74" name="TextBox 1373"/>
          <p:cNvSpPr txBox="1"/>
          <p:nvPr/>
        </p:nvSpPr>
        <p:spPr>
          <a:xfrm>
            <a:off x="77724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75" name="Picture 1374" descr="ipp_olga_dolores_mata_mendieta.png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8686800" y="5669280"/>
            <a:ext cx="640080" cy="640080"/>
          </a:xfrm>
          <a:prstGeom prst="rect">
            <a:avLst/>
          </a:prstGeom>
        </p:spPr>
      </p:pic>
      <p:sp>
        <p:nvSpPr>
          <p:cNvPr id="1376" name="TextBox 1375"/>
          <p:cNvSpPr txBox="1"/>
          <p:nvPr/>
        </p:nvSpPr>
        <p:spPr>
          <a:xfrm>
            <a:off x="86868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Olga Dolores </a:t>
            </a:r>
            <a:br/>
            <a:r>
              <a:t>Mata Mendieta</a:t>
            </a:r>
            <a:br/>
            <a:r>
              <a:t>Analyst</a:t>
            </a:r>
          </a:p>
        </p:txBody>
      </p:sp>
      <p:sp>
        <p:nvSpPr>
          <p:cNvPr id="1377" name="TextBox 1376"/>
          <p:cNvSpPr txBox="1"/>
          <p:nvPr/>
        </p:nvSpPr>
        <p:spPr>
          <a:xfrm>
            <a:off x="86868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78" name="Picture 1377" descr="ipp_roger_padierna_sansores.png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9601200" y="5669280"/>
            <a:ext cx="640080" cy="640080"/>
          </a:xfrm>
          <a:prstGeom prst="rect">
            <a:avLst/>
          </a:prstGeom>
        </p:spPr>
      </p:pic>
      <p:sp>
        <p:nvSpPr>
          <p:cNvPr id="1379" name="TextBox 1378"/>
          <p:cNvSpPr txBox="1"/>
          <p:nvPr/>
        </p:nvSpPr>
        <p:spPr>
          <a:xfrm>
            <a:off x="96012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oger </a:t>
            </a:r>
            <a:br/>
            <a:r>
              <a:t>Padierna Sansore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80" name="TextBox 1379"/>
          <p:cNvSpPr txBox="1"/>
          <p:nvPr/>
        </p:nvSpPr>
        <p:spPr>
          <a:xfrm>
            <a:off x="96012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81" name="Picture 1380" descr="ipp_victor_nahum_antonio.png"/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10515600" y="5669280"/>
            <a:ext cx="640080" cy="640080"/>
          </a:xfrm>
          <a:prstGeom prst="rect">
            <a:avLst/>
          </a:prstGeom>
        </p:spPr>
      </p:pic>
      <p:sp>
        <p:nvSpPr>
          <p:cNvPr id="1382" name="TextBox 1381"/>
          <p:cNvSpPr txBox="1"/>
          <p:nvPr/>
        </p:nvSpPr>
        <p:spPr>
          <a:xfrm>
            <a:off x="105156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Victor </a:t>
            </a:r>
            <a:br/>
            <a:r>
              <a:t>Nahum Antonio</a:t>
            </a:r>
            <a:br/>
            <a:r>
              <a:t>Analyst</a:t>
            </a:r>
          </a:p>
        </p:txBody>
      </p:sp>
      <p:sp>
        <p:nvSpPr>
          <p:cNvPr id="1383" name="TextBox 1382"/>
          <p:cNvSpPr txBox="1"/>
          <p:nvPr/>
        </p:nvSpPr>
        <p:spPr>
          <a:xfrm>
            <a:off x="105156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KT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1162" name="Picture 1161" descr="ipp_achraf_saktiwy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163" name="TextBox 1162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chraf </a:t>
            </a:r>
            <a:br/>
            <a:r>
              <a:t>Saktiw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64" name="TextBox 1163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5" name="Picture 1164" descr="ipp_amine_benmoussa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166" name="TextBox 1165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e </a:t>
            </a:r>
            <a:br/>
            <a:r>
              <a:t>BENMOUSS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67" name="TextBox 1166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8" name="Picture 1167" descr="ipp_anas_ghoula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169" name="TextBox 1168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nas </a:t>
            </a:r>
            <a:br/>
            <a:r>
              <a:t>Ghoulam</a:t>
            </a:r>
            <a:br/>
            <a:r>
              <a:t>Associate</a:t>
            </a:r>
          </a:p>
        </p:txBody>
      </p:sp>
      <p:sp>
        <p:nvSpPr>
          <p:cNvPr id="1170" name="TextBox 1169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1" name="Picture 1170" descr="ipp_chaimaa_bencheikh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172" name="TextBox 1171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haimaa </a:t>
            </a:r>
            <a:br/>
            <a:r>
              <a:t>Bencheikh</a:t>
            </a:r>
            <a:br/>
            <a:r>
              <a:t>Associate</a:t>
            </a:r>
          </a:p>
        </p:txBody>
      </p:sp>
      <p:sp>
        <p:nvSpPr>
          <p:cNvPr id="1173" name="TextBox 1172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4" name="Picture 1173" descr="ipp_chouaib_hidara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175" name="TextBox 1174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houaib </a:t>
            </a:r>
            <a:br/>
            <a:r>
              <a:t>Hidar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76" name="TextBox 1175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7" name="Picture 1176" descr="ipp_mahmoud_benchicou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178" name="TextBox 1177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hmoud </a:t>
            </a:r>
            <a:br/>
            <a:r>
              <a:t>Benchicou</a:t>
            </a:r>
            <a:br/>
            <a:r>
              <a:t>Analyst</a:t>
            </a:r>
          </a:p>
        </p:txBody>
      </p:sp>
      <p:sp>
        <p:nvSpPr>
          <p:cNvPr id="1179" name="TextBox 1178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0" name="Picture 1179" descr="ipp_meryem_moutmir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181" name="TextBox 1180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eryem </a:t>
            </a:r>
            <a:br/>
            <a:r>
              <a:t>Moutmir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2" name="TextBox 1181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3" name="Picture 1182" descr="ipp_mohamed_ali_al_kharassani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184" name="TextBox 1183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Ali Al </a:t>
            </a:r>
            <a:br/>
            <a:r>
              <a:t>Kharassani</a:t>
            </a:r>
            <a:br/>
            <a:r>
              <a:t>Analyst</a:t>
            </a:r>
          </a:p>
        </p:txBody>
      </p:sp>
      <p:sp>
        <p:nvSpPr>
          <p:cNvPr id="1185" name="TextBox 1184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6" name="Picture 1185" descr="ipp_mohamed_kamal_zaraba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187" name="TextBox 1186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Kamal Zarab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8" name="TextBox 1187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9" name="Picture 1188" descr="ipp_mohamed_saidi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190" name="TextBox 1189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ohamed Saidi</a:t>
            </a:r>
            <a:br/>
            <a:r>
              <a:t>Associate</a:t>
            </a:r>
          </a:p>
        </p:txBody>
      </p:sp>
      <p:sp>
        <p:nvSpPr>
          <p:cNvPr id="1191" name="TextBox 1190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2" name="Picture 1191" descr="test_pic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193" name="TextBox 1192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med </a:t>
            </a:r>
            <a:br/>
            <a:r>
              <a:t>Berrad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94" name="TextBox 1193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5" name="Picture 1194" descr="ipp_nada_faris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196" name="TextBox 1195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a </a:t>
            </a:r>
            <a:br/>
            <a:r>
              <a:t>Faris</a:t>
            </a:r>
            <a:br/>
            <a:r>
              <a:t>Analyst</a:t>
            </a:r>
          </a:p>
        </p:txBody>
      </p:sp>
      <p:sp>
        <p:nvSpPr>
          <p:cNvPr id="1197" name="TextBox 1196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8" name="Picture 1197" descr="ipp_ossama_labiad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199" name="TextBox 1198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ssama </a:t>
            </a:r>
            <a:br/>
            <a:r>
              <a:t>Labiad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00" name="TextBox 1199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1" name="Picture 1200" descr="ipp_wiame_anaya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02" name="TextBox 1201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Wiame </a:t>
            </a:r>
            <a:br/>
            <a:r>
              <a:t>Anaya</a:t>
            </a:r>
            <a:br/>
            <a:r>
              <a:t>Analyst</a:t>
            </a:r>
          </a:p>
        </p:txBody>
      </p:sp>
      <p:sp>
        <p:nvSpPr>
          <p:cNvPr id="1203" name="TextBox 1202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4" name="Picture 1203" descr="ipp_yasmine_aazim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05" name="TextBox 1204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Yasmine Aazim</a:t>
            </a:r>
            <a:br/>
            <a:r>
              <a:t>Analyst</a:t>
            </a:r>
          </a:p>
        </p:txBody>
      </p:sp>
      <p:sp>
        <p:nvSpPr>
          <p:cNvPr id="1206" name="TextBox 1205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7" name="Picture 1206" descr="ipp_yassin_el_hardouz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08" name="TextBox 1207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assin El </a:t>
            </a:r>
            <a:br/>
            <a:r>
              <a:t>Hardouz</a:t>
            </a:r>
            <a:br/>
            <a:r>
              <a:t>Analyst</a:t>
            </a:r>
          </a:p>
        </p:txBody>
      </p:sp>
      <p:sp>
        <p:nvSpPr>
          <p:cNvPr id="1209" name="TextBox 1208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0" name="Picture 1209" descr="ipp_yassine_falk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11" name="TextBox 1210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Yassine Falk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12" name="TextBox 1211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3" name="Picture 1212" descr="ipp_younes_kabbaj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029200" y="3108960"/>
            <a:ext cx="731520" cy="731520"/>
          </a:xfrm>
          <a:prstGeom prst="rect">
            <a:avLst/>
          </a:prstGeom>
        </p:spPr>
      </p:pic>
      <p:sp>
        <p:nvSpPr>
          <p:cNvPr id="1214" name="TextBox 1213"/>
          <p:cNvSpPr txBox="1"/>
          <p:nvPr/>
        </p:nvSpPr>
        <p:spPr>
          <a:xfrm>
            <a:off x="5029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unes </a:t>
            </a:r>
            <a:br/>
            <a:r>
              <a:t>Kabbaj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15" name="TextBox 1214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6" name="Picture 1215" descr="ipp_youssef_abdelmoutalib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943600" y="3108960"/>
            <a:ext cx="731520" cy="731520"/>
          </a:xfrm>
          <a:prstGeom prst="rect">
            <a:avLst/>
          </a:prstGeom>
        </p:spPr>
      </p:pic>
      <p:sp>
        <p:nvSpPr>
          <p:cNvPr id="1217" name="TextBox 1216"/>
          <p:cNvSpPr txBox="1"/>
          <p:nvPr/>
        </p:nvSpPr>
        <p:spPr>
          <a:xfrm>
            <a:off x="5943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ussef </a:t>
            </a:r>
            <a:br/>
            <a:r>
              <a:t>Abdelmoutalib</a:t>
            </a:r>
            <a:br/>
            <a:r>
              <a:t>Analyst</a:t>
            </a:r>
          </a:p>
        </p:txBody>
      </p:sp>
      <p:sp>
        <p:nvSpPr>
          <p:cNvPr id="1218" name="TextBox 1217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9" name="Picture 1218" descr="ipp_zineb_benmhalla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858000" y="3108960"/>
            <a:ext cx="731520" cy="731520"/>
          </a:xfrm>
          <a:prstGeom prst="rect">
            <a:avLst/>
          </a:prstGeom>
        </p:spPr>
      </p:pic>
      <p:sp>
        <p:nvSpPr>
          <p:cNvPr id="1220" name="TextBox 1219"/>
          <p:cNvSpPr txBox="1"/>
          <p:nvPr/>
        </p:nvSpPr>
        <p:spPr>
          <a:xfrm>
            <a:off x="6858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ineb </a:t>
            </a:r>
            <a:br/>
            <a:r>
              <a:t>Benmhalla</a:t>
            </a:r>
            <a:br/>
            <a:r>
              <a:t>Analyst</a:t>
            </a:r>
          </a:p>
        </p:txBody>
      </p:sp>
      <p:sp>
        <p:nvSpPr>
          <p:cNvPr id="1221" name="TextBox 1220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22" name="Picture 1221" descr="ipp_zyad_channoufi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72400" y="3108960"/>
            <a:ext cx="731520" cy="731520"/>
          </a:xfrm>
          <a:prstGeom prst="rect">
            <a:avLst/>
          </a:prstGeom>
        </p:spPr>
      </p:pic>
      <p:sp>
        <p:nvSpPr>
          <p:cNvPr id="1223" name="TextBox 1222"/>
          <p:cNvSpPr txBox="1"/>
          <p:nvPr/>
        </p:nvSpPr>
        <p:spPr>
          <a:xfrm>
            <a:off x="7772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yad </a:t>
            </a:r>
            <a:br/>
            <a:r>
              <a:t>Channouf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24" name="TextBox 1223"/>
          <p:cNvSpPr txBox="1"/>
          <p:nvPr/>
        </p:nvSpPr>
        <p:spPr>
          <a:xfrm>
            <a:off x="7772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648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CK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5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61112" y="506513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46112" y="514208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193" y="5037554"/>
            <a:ext cx="365760" cy="209398"/>
          </a:xfrm>
          <a:prstGeom prst="rect">
            <a:avLst/>
          </a:prstGeom>
        </p:spPr>
      </p:pic>
      <p:pic>
        <p:nvPicPr>
          <p:cNvPr id="1249" name="Picture 1248" descr="ipp_abdulrhman_salah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250" name="TextBox 1249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ulrhman Salah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51" name="TextBox 1250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2" name="Picture 1251" descr="ipp_ahmed_atef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253" name="TextBox 1252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Atef</a:t>
            </a:r>
            <a:br/>
            <a:r>
              <a:t>Associate</a:t>
            </a:r>
          </a:p>
        </p:txBody>
      </p:sp>
      <p:sp>
        <p:nvSpPr>
          <p:cNvPr id="1254" name="TextBox 1253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5" name="Picture 1254" descr="ipp_ahmed_ayad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256" name="TextBox 1255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Ayad</a:t>
            </a:r>
            <a:br/>
            <a:r>
              <a:t>Analyst</a:t>
            </a:r>
          </a:p>
        </p:txBody>
      </p:sp>
      <p:sp>
        <p:nvSpPr>
          <p:cNvPr id="1257" name="TextBox 1256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8" name="Picture 1257" descr="ipp_hazem_el_okda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259" name="TextBox 1258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zem </a:t>
            </a:r>
            <a:br/>
            <a:r>
              <a:t>El Okd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60" name="TextBox 1259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1" name="Picture 1260" descr="ipp_hussien_elzayady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262" name="TextBox 1261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ussien </a:t>
            </a:r>
            <a:br/>
            <a:r>
              <a:t>Elzayady</a:t>
            </a:r>
            <a:br/>
            <a:r>
              <a:t>Analyst</a:t>
            </a:r>
          </a:p>
        </p:txBody>
      </p:sp>
      <p:sp>
        <p:nvSpPr>
          <p:cNvPr id="1263" name="TextBox 1262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4" name="Picture 1263" descr="ipp_lobna_selim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265" name="TextBox 1264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Lobna </a:t>
            </a:r>
            <a:br/>
            <a:r>
              <a:t>Selim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66" name="TextBox 1265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7" name="Picture 1266" descr="ipp_makary_philemon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268" name="TextBox 1267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kary </a:t>
            </a:r>
            <a:br/>
            <a:r>
              <a:t>Philemon</a:t>
            </a:r>
            <a:br/>
            <a:r>
              <a:t>Analyst</a:t>
            </a:r>
          </a:p>
        </p:txBody>
      </p:sp>
      <p:sp>
        <p:nvSpPr>
          <p:cNvPr id="1269" name="TextBox 1268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0" name="Picture 1269" descr="ipp_mariam_abd_el-aziz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271" name="TextBox 1270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Abd </a:t>
            </a:r>
            <a:br/>
            <a:r>
              <a:t>El-Aziz</a:t>
            </a:r>
            <a:br/>
            <a:r>
              <a:t>Associate</a:t>
            </a:r>
          </a:p>
        </p:txBody>
      </p:sp>
      <p:sp>
        <p:nvSpPr>
          <p:cNvPr id="1272" name="TextBox 1271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3" name="Picture 1272" descr="ipp_mariam_khalil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274" name="TextBox 1273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Khalil</a:t>
            </a:r>
            <a:br/>
            <a:r>
              <a:t>Analyst</a:t>
            </a:r>
          </a:p>
        </p:txBody>
      </p:sp>
      <p:sp>
        <p:nvSpPr>
          <p:cNvPr id="1275" name="TextBox 1274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6" name="Picture 1275" descr="ipp_mayar_gaber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277" name="TextBox 1276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yar </a:t>
            </a:r>
            <a:br/>
            <a:r>
              <a:t>Gaber</a:t>
            </a:r>
            <a:br/>
            <a:r>
              <a:t>Analyst</a:t>
            </a:r>
          </a:p>
        </p:txBody>
      </p:sp>
      <p:sp>
        <p:nvSpPr>
          <p:cNvPr id="1278" name="TextBox 1277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9" name="Picture 1278" descr="ipp_mazen_abdelaal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280" name="TextBox 1279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zen </a:t>
            </a:r>
            <a:br/>
            <a:r>
              <a:t>Abdelaal</a:t>
            </a:r>
            <a:br/>
            <a:r>
              <a:t>Analyst</a:t>
            </a:r>
          </a:p>
        </p:txBody>
      </p:sp>
      <p:sp>
        <p:nvSpPr>
          <p:cNvPr id="1281" name="TextBox 1280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2" name="Picture 1281" descr="ipp_mohamed_mohsen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283" name="TextBox 1282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Mohsen</a:t>
            </a:r>
            <a:br/>
            <a:r>
              <a:t>Analyst</a:t>
            </a:r>
          </a:p>
        </p:txBody>
      </p:sp>
      <p:sp>
        <p:nvSpPr>
          <p:cNvPr id="1284" name="TextBox 1283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5" name="Picture 1284" descr="ipp_nadine_khalifa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286" name="TextBox 1285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ine </a:t>
            </a:r>
            <a:br/>
            <a:r>
              <a:t>Khalif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87" name="TextBox 1286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8" name="Picture 1287" descr="ipp_nour_samy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89" name="TextBox 1288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our </a:t>
            </a:r>
            <a:br/>
            <a:r>
              <a:t>Samy</a:t>
            </a:r>
            <a:br/>
            <a:r>
              <a:t>Analyst</a:t>
            </a:r>
          </a:p>
        </p:txBody>
      </p:sp>
      <p:sp>
        <p:nvSpPr>
          <p:cNvPr id="1290" name="TextBox 1289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1" name="Picture 1290" descr="ipp_rana_abo_el_abbas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92" name="TextBox 1291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na Abo </a:t>
            </a:r>
            <a:br/>
            <a:r>
              <a:t>El Abba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93" name="TextBox 1292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4" name="Picture 1293" descr="ipp_randa_elokdah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95" name="TextBox 1294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nda </a:t>
            </a:r>
            <a:br/>
            <a:r>
              <a:t>Elokdah</a:t>
            </a:r>
            <a:br/>
            <a:r>
              <a:t>Associate</a:t>
            </a:r>
          </a:p>
        </p:txBody>
      </p:sp>
      <p:sp>
        <p:nvSpPr>
          <p:cNvPr id="1296" name="TextBox 1295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7" name="Picture 1296" descr="ipp_salma_ghanem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98" name="TextBox 1297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lma </a:t>
            </a:r>
            <a:br/>
            <a:r>
              <a:t>Ghanem</a:t>
            </a:r>
            <a:br/>
            <a:r>
              <a:t>Analyst</a:t>
            </a:r>
          </a:p>
        </p:txBody>
      </p:sp>
      <p:sp>
        <p:nvSpPr>
          <p:cNvPr id="1299" name="TextBox 1298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0" name="Picture 1299" descr="ipp_alina_castillo_espinoza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57200" y="4754880"/>
            <a:ext cx="731520" cy="731520"/>
          </a:xfrm>
          <a:prstGeom prst="rect">
            <a:avLst/>
          </a:prstGeom>
        </p:spPr>
      </p:pic>
      <p:sp>
        <p:nvSpPr>
          <p:cNvPr id="1301" name="TextBox 1300"/>
          <p:cNvSpPr txBox="1"/>
          <p:nvPr/>
        </p:nvSpPr>
        <p:spPr>
          <a:xfrm>
            <a:off x="4572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lina </a:t>
            </a:r>
            <a:br/>
            <a:r>
              <a:t>Castillo Espinoza</a:t>
            </a:r>
            <a:br/>
            <a:r>
              <a:t>Analyst</a:t>
            </a:r>
          </a:p>
        </p:txBody>
      </p:sp>
      <p:sp>
        <p:nvSpPr>
          <p:cNvPr id="1302" name="TextBox 1301"/>
          <p:cNvSpPr txBox="1"/>
          <p:nvPr/>
        </p:nvSpPr>
        <p:spPr>
          <a:xfrm>
            <a:off x="4572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3" name="Picture 1302" descr="ipp_bernardo_casas_nader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371600" y="4754880"/>
            <a:ext cx="731520" cy="731520"/>
          </a:xfrm>
          <a:prstGeom prst="rect">
            <a:avLst/>
          </a:prstGeom>
        </p:spPr>
      </p:pic>
      <p:sp>
        <p:nvSpPr>
          <p:cNvPr id="1304" name="TextBox 1303"/>
          <p:cNvSpPr txBox="1"/>
          <p:nvPr/>
        </p:nvSpPr>
        <p:spPr>
          <a:xfrm>
            <a:off x="13716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ernardo </a:t>
            </a:r>
            <a:br/>
            <a:r>
              <a:t>Casas Nader</a:t>
            </a:r>
            <a:br/>
            <a:r>
              <a:t>Analyst</a:t>
            </a:r>
          </a:p>
        </p:txBody>
      </p:sp>
      <p:sp>
        <p:nvSpPr>
          <p:cNvPr id="1305" name="TextBox 1304"/>
          <p:cNvSpPr txBox="1"/>
          <p:nvPr/>
        </p:nvSpPr>
        <p:spPr>
          <a:xfrm>
            <a:off x="13716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6" name="Picture 1305" descr="ipp_carlos_camp_talavera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286000" y="4754880"/>
            <a:ext cx="731520" cy="731520"/>
          </a:xfrm>
          <a:prstGeom prst="rect">
            <a:avLst/>
          </a:prstGeom>
        </p:spPr>
      </p:pic>
      <p:sp>
        <p:nvSpPr>
          <p:cNvPr id="1307" name="TextBox 1306"/>
          <p:cNvSpPr txBox="1"/>
          <p:nvPr/>
        </p:nvSpPr>
        <p:spPr>
          <a:xfrm>
            <a:off x="22860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arlos Camp </a:t>
            </a:r>
            <a:br/>
            <a:r>
              <a:t>Talaver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08" name="TextBox 1307"/>
          <p:cNvSpPr txBox="1"/>
          <p:nvPr/>
        </p:nvSpPr>
        <p:spPr>
          <a:xfrm>
            <a:off x="22860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9" name="Picture 1308" descr="ipp_carlos_eugenio_trevino_guerr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200400" y="4754880"/>
            <a:ext cx="731520" cy="731520"/>
          </a:xfrm>
          <a:prstGeom prst="rect">
            <a:avLst/>
          </a:prstGeom>
        </p:spPr>
      </p:pic>
      <p:sp>
        <p:nvSpPr>
          <p:cNvPr id="1310" name="TextBox 1309"/>
          <p:cNvSpPr txBox="1"/>
          <p:nvPr/>
        </p:nvSpPr>
        <p:spPr>
          <a:xfrm>
            <a:off x="32004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arlos Eugenio </a:t>
            </a:r>
            <a:br/>
            <a:r>
              <a:t>Trevino Guerr</a:t>
            </a:r>
            <a:br/>
            <a:r>
              <a:t>Analyst</a:t>
            </a:r>
          </a:p>
        </p:txBody>
      </p:sp>
      <p:sp>
        <p:nvSpPr>
          <p:cNvPr id="1311" name="TextBox 1310"/>
          <p:cNvSpPr txBox="1"/>
          <p:nvPr/>
        </p:nvSpPr>
        <p:spPr>
          <a:xfrm>
            <a:off x="32004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2" name="Picture 1311" descr="ipp_daniel_ramos_loera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114800" y="4754880"/>
            <a:ext cx="731520" cy="731520"/>
          </a:xfrm>
          <a:prstGeom prst="rect">
            <a:avLst/>
          </a:prstGeom>
        </p:spPr>
      </p:pic>
      <p:sp>
        <p:nvSpPr>
          <p:cNvPr id="1313" name="TextBox 1312"/>
          <p:cNvSpPr txBox="1"/>
          <p:nvPr/>
        </p:nvSpPr>
        <p:spPr>
          <a:xfrm>
            <a:off x="41148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aniel </a:t>
            </a:r>
            <a:br/>
            <a:r>
              <a:t>Ramos Loera</a:t>
            </a:r>
            <a:br/>
            <a:r>
              <a:t>Associate</a:t>
            </a:r>
          </a:p>
        </p:txBody>
      </p:sp>
      <p:sp>
        <p:nvSpPr>
          <p:cNvPr id="1314" name="TextBox 1313"/>
          <p:cNvSpPr txBox="1"/>
          <p:nvPr/>
        </p:nvSpPr>
        <p:spPr>
          <a:xfrm>
            <a:off x="41148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5" name="Picture 1314" descr="ipp_derek_david_vallejo_arroyo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029200" y="4754880"/>
            <a:ext cx="731520" cy="731520"/>
          </a:xfrm>
          <a:prstGeom prst="rect">
            <a:avLst/>
          </a:prstGeom>
        </p:spPr>
      </p:pic>
      <p:sp>
        <p:nvSpPr>
          <p:cNvPr id="1316" name="TextBox 1315"/>
          <p:cNvSpPr txBox="1"/>
          <p:nvPr/>
        </p:nvSpPr>
        <p:spPr>
          <a:xfrm>
            <a:off x="50292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erek David </a:t>
            </a:r>
            <a:br/>
            <a:r>
              <a:t>Vallejo Arroyo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17" name="TextBox 1316"/>
          <p:cNvSpPr txBox="1"/>
          <p:nvPr/>
        </p:nvSpPr>
        <p:spPr>
          <a:xfrm>
            <a:off x="50292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18" name="Picture 1317" descr="ipp_fernanda_rios_herrera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5943600" y="4754880"/>
            <a:ext cx="731520" cy="731520"/>
          </a:xfrm>
          <a:prstGeom prst="rect">
            <a:avLst/>
          </a:prstGeom>
        </p:spPr>
      </p:pic>
      <p:sp>
        <p:nvSpPr>
          <p:cNvPr id="1319" name="TextBox 1318"/>
          <p:cNvSpPr txBox="1"/>
          <p:nvPr/>
        </p:nvSpPr>
        <p:spPr>
          <a:xfrm>
            <a:off x="59436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ernanda </a:t>
            </a:r>
            <a:br/>
            <a:r>
              <a:t>Rios Herrera</a:t>
            </a:r>
            <a:br/>
            <a:r>
              <a:t>Analyst</a:t>
            </a:r>
          </a:p>
        </p:txBody>
      </p:sp>
      <p:sp>
        <p:nvSpPr>
          <p:cNvPr id="1320" name="TextBox 1319"/>
          <p:cNvSpPr txBox="1"/>
          <p:nvPr/>
        </p:nvSpPr>
        <p:spPr>
          <a:xfrm>
            <a:off x="59436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1" name="Picture 1320" descr="ipp_hector_antonio_ruiz_guevara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858000" y="4754880"/>
            <a:ext cx="731520" cy="731520"/>
          </a:xfrm>
          <a:prstGeom prst="rect">
            <a:avLst/>
          </a:prstGeom>
        </p:spPr>
      </p:pic>
      <p:sp>
        <p:nvSpPr>
          <p:cNvPr id="1322" name="TextBox 1321"/>
          <p:cNvSpPr txBox="1"/>
          <p:nvPr/>
        </p:nvSpPr>
        <p:spPr>
          <a:xfrm>
            <a:off x="68580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ector Antonio </a:t>
            </a:r>
            <a:br/>
            <a:r>
              <a:t>Ruiz Guevara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23" name="TextBox 1322"/>
          <p:cNvSpPr txBox="1"/>
          <p:nvPr/>
        </p:nvSpPr>
        <p:spPr>
          <a:xfrm>
            <a:off x="68580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4" name="Picture 1323" descr="ipp_hector_gonzalez_magaña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772400" y="4754880"/>
            <a:ext cx="731520" cy="731520"/>
          </a:xfrm>
          <a:prstGeom prst="rect">
            <a:avLst/>
          </a:prstGeom>
        </p:spPr>
      </p:pic>
      <p:sp>
        <p:nvSpPr>
          <p:cNvPr id="1325" name="TextBox 1324"/>
          <p:cNvSpPr txBox="1"/>
          <p:nvPr/>
        </p:nvSpPr>
        <p:spPr>
          <a:xfrm>
            <a:off x="77724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ector </a:t>
            </a:r>
            <a:br/>
            <a:r>
              <a:t>Gonzalez Magaña</a:t>
            </a:r>
            <a:br/>
            <a:r>
              <a:t>Analyst</a:t>
            </a:r>
          </a:p>
        </p:txBody>
      </p:sp>
      <p:sp>
        <p:nvSpPr>
          <p:cNvPr id="1326" name="TextBox 1325"/>
          <p:cNvSpPr txBox="1"/>
          <p:nvPr/>
        </p:nvSpPr>
        <p:spPr>
          <a:xfrm>
            <a:off x="77724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27" name="Picture 1326" descr="ipp_marie_genia_mallmann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686800" y="4754880"/>
            <a:ext cx="731520" cy="731520"/>
          </a:xfrm>
          <a:prstGeom prst="rect">
            <a:avLst/>
          </a:prstGeom>
        </p:spPr>
      </p:pic>
      <p:sp>
        <p:nvSpPr>
          <p:cNvPr id="1328" name="TextBox 1327"/>
          <p:cNvSpPr txBox="1"/>
          <p:nvPr/>
        </p:nvSpPr>
        <p:spPr>
          <a:xfrm>
            <a:off x="86868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e Genia </a:t>
            </a:r>
            <a:br/>
            <a:r>
              <a:t>Mallmann</a:t>
            </a:r>
            <a:br/>
            <a:r>
              <a:t>Analyst</a:t>
            </a:r>
          </a:p>
        </p:txBody>
      </p:sp>
      <p:sp>
        <p:nvSpPr>
          <p:cNvPr id="1329" name="TextBox 1328"/>
          <p:cNvSpPr txBox="1"/>
          <p:nvPr/>
        </p:nvSpPr>
        <p:spPr>
          <a:xfrm>
            <a:off x="86868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0" name="Picture 1329" descr="ipp_mauricio_lankenau_vela.png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9601200" y="4754880"/>
            <a:ext cx="731520" cy="731520"/>
          </a:xfrm>
          <a:prstGeom prst="rect">
            <a:avLst/>
          </a:prstGeom>
        </p:spPr>
      </p:pic>
      <p:sp>
        <p:nvSpPr>
          <p:cNvPr id="1331" name="TextBox 1330"/>
          <p:cNvSpPr txBox="1"/>
          <p:nvPr/>
        </p:nvSpPr>
        <p:spPr>
          <a:xfrm>
            <a:off x="96012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uricio </a:t>
            </a:r>
            <a:br/>
            <a:r>
              <a:t>Lankenau Vela</a:t>
            </a:r>
            <a:br/>
            <a:r>
              <a:t>Analyst</a:t>
            </a:r>
          </a:p>
        </p:txBody>
      </p:sp>
      <p:sp>
        <p:nvSpPr>
          <p:cNvPr id="1332" name="TextBox 1331"/>
          <p:cNvSpPr txBox="1"/>
          <p:nvPr/>
        </p:nvSpPr>
        <p:spPr>
          <a:xfrm>
            <a:off x="96012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3" name="Picture 1332" descr="ipp_meliza_rivas_contreras.png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0515600" y="4754880"/>
            <a:ext cx="731520" cy="731520"/>
          </a:xfrm>
          <a:prstGeom prst="rect">
            <a:avLst/>
          </a:prstGeom>
        </p:spPr>
      </p:pic>
      <p:sp>
        <p:nvSpPr>
          <p:cNvPr id="1334" name="TextBox 1333"/>
          <p:cNvSpPr txBox="1"/>
          <p:nvPr/>
        </p:nvSpPr>
        <p:spPr>
          <a:xfrm>
            <a:off x="10515600" y="52425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eliza Rivas </a:t>
            </a:r>
            <a:br/>
            <a:r>
              <a:t>Contreras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35" name="TextBox 1334"/>
          <p:cNvSpPr txBox="1"/>
          <p:nvPr/>
        </p:nvSpPr>
        <p:spPr>
          <a:xfrm>
            <a:off x="10515600" y="50596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36" name="Picture 1335" descr="ipp_omar_alfredo_gasca_basilio.png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57200" y="6126480"/>
            <a:ext cx="731520" cy="731520"/>
          </a:xfrm>
          <a:prstGeom prst="rect">
            <a:avLst/>
          </a:prstGeom>
        </p:spPr>
      </p:pic>
      <p:sp>
        <p:nvSpPr>
          <p:cNvPr id="1337" name="TextBox 1336"/>
          <p:cNvSpPr txBox="1"/>
          <p:nvPr/>
        </p:nvSpPr>
        <p:spPr>
          <a:xfrm>
            <a:off x="457200" y="6614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mar Alfredo </a:t>
            </a:r>
            <a:br/>
            <a:r>
              <a:t>Gasca Basilio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38" name="TextBox 1337"/>
          <p:cNvSpPr txBox="1"/>
          <p:nvPr/>
        </p:nvSpPr>
        <p:spPr>
          <a:xfrm>
            <a:off x="457200" y="6431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  <p:extLst>
      <p:ext uri="{BB962C8B-B14F-4D97-AF65-F5344CB8AC3E}">
        <p14:creationId xmlns:p14="http://schemas.microsoft.com/office/powerpoint/2010/main" val="1230811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7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CK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1162" name="Picture 1161" descr="ipp_abdelkabyr_lachhab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163" name="TextBox 1162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elkabyr Lachhab</a:t>
            </a:r>
            <a:br/>
            <a:r>
              <a:t>Associate</a:t>
            </a:r>
          </a:p>
        </p:txBody>
      </p:sp>
      <p:sp>
        <p:nvSpPr>
          <p:cNvPr id="1164" name="TextBox 1163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5" name="Picture 1164" descr="ipp_abdessalam_falsy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166" name="TextBox 1165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essalam Fals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67" name="TextBox 1166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8" name="Picture 1167" descr="ipp_achraf_salman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169" name="TextBox 1168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chraf </a:t>
            </a:r>
            <a:br/>
            <a:r>
              <a:t>Salmane</a:t>
            </a:r>
            <a:br/>
            <a:r>
              <a:t>Analyst</a:t>
            </a:r>
          </a:p>
        </p:txBody>
      </p:sp>
      <p:sp>
        <p:nvSpPr>
          <p:cNvPr id="1170" name="TextBox 1169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1" name="Picture 1170" descr="ipp_aida_mekouar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172" name="TextBox 1171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ida </a:t>
            </a:r>
            <a:br/>
            <a:r>
              <a:t>Mekouar</a:t>
            </a:r>
            <a:br/>
            <a:r>
              <a:t>Analyst</a:t>
            </a:r>
          </a:p>
        </p:txBody>
      </p:sp>
      <p:sp>
        <p:nvSpPr>
          <p:cNvPr id="1173" name="TextBox 1172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4" name="Picture 1173" descr="ipp_boutaina_benaboud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175" name="TextBox 1174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outaina </a:t>
            </a:r>
            <a:br/>
            <a:r>
              <a:t>Benaboud</a:t>
            </a:r>
            <a:br/>
            <a:r>
              <a:t>Associate</a:t>
            </a:r>
          </a:p>
        </p:txBody>
      </p:sp>
      <p:sp>
        <p:nvSpPr>
          <p:cNvPr id="1176" name="TextBox 1175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7" name="Picture 1176" descr="ipp_camilla_lupiani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178" name="TextBox 1177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Camilla </a:t>
            </a:r>
            <a:br/>
            <a:r>
              <a:t>Lupiani</a:t>
            </a:r>
            <a:br/>
            <a:r>
              <a:t>Analyst</a:t>
            </a:r>
          </a:p>
        </p:txBody>
      </p:sp>
      <p:sp>
        <p:nvSpPr>
          <p:cNvPr id="1179" name="TextBox 1178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0" name="Picture 1179" descr="ipp_fadoua_akhoullou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181" name="TextBox 1180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adoua </a:t>
            </a:r>
            <a:br/>
            <a:r>
              <a:t>Akhoullou</a:t>
            </a:r>
            <a:br/>
            <a:r>
              <a:t>Analyst</a:t>
            </a:r>
          </a:p>
        </p:txBody>
      </p:sp>
      <p:sp>
        <p:nvSpPr>
          <p:cNvPr id="1182" name="TextBox 1181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3" name="Picture 1182" descr="ipp_fatimazohra_aboulfoujja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184" name="TextBox 1183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atimazohra </a:t>
            </a:r>
            <a:br/>
            <a:r>
              <a:t>Aboulfoujja</a:t>
            </a:r>
            <a:br/>
            <a:r>
              <a:t>Analyst</a:t>
            </a:r>
          </a:p>
        </p:txBody>
      </p:sp>
      <p:sp>
        <p:nvSpPr>
          <p:cNvPr id="1185" name="TextBox 1184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6" name="Picture 1185" descr="ipp_ilyas_lahouioui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187" name="TextBox 1186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lyas </a:t>
            </a:r>
            <a:br/>
            <a:r>
              <a:t>Lahouiou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8" name="TextBox 1187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9" name="Picture 1188" descr="ipp_kenza_abadi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190" name="TextBox 1189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enza </a:t>
            </a:r>
            <a:br/>
            <a:r>
              <a:t>Abadi</a:t>
            </a:r>
            <a:br/>
            <a:r>
              <a:t>Associate</a:t>
            </a:r>
          </a:p>
        </p:txBody>
      </p:sp>
      <p:sp>
        <p:nvSpPr>
          <p:cNvPr id="1191" name="TextBox 1190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2" name="Picture 1191" descr="ipp_khadija_boucht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193" name="TextBox 1192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dija </a:t>
            </a:r>
            <a:br/>
            <a:r>
              <a:t>Boucht</a:t>
            </a:r>
            <a:br/>
            <a:r>
              <a:t>Associate</a:t>
            </a:r>
          </a:p>
        </p:txBody>
      </p:sp>
      <p:sp>
        <p:nvSpPr>
          <p:cNvPr id="1194" name="TextBox 1193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5" name="Picture 1194" descr="ipp_khawla_khrifi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196" name="TextBox 1195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wla </a:t>
            </a:r>
            <a:br/>
            <a:r>
              <a:t>Khrif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97" name="TextBox 1196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8" name="Picture 1197" descr="ipp_mariyam_tahri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199" name="TextBox 1198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ariyam Tahr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00" name="TextBox 1199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1" name="Picture 1200" descr="ipp_maroua_benjillali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02" name="TextBox 1201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oua </a:t>
            </a:r>
            <a:br/>
            <a:r>
              <a:t>Benjillali</a:t>
            </a:r>
            <a:br/>
            <a:r>
              <a:t>Associate</a:t>
            </a:r>
          </a:p>
        </p:txBody>
      </p:sp>
      <p:sp>
        <p:nvSpPr>
          <p:cNvPr id="1203" name="TextBox 1202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4" name="Picture 1203" descr="ipp_nada_krat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05" name="TextBox 1204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a </a:t>
            </a:r>
            <a:br/>
            <a:r>
              <a:t>Krat</a:t>
            </a:r>
            <a:br/>
            <a:r>
              <a:t>Analyst</a:t>
            </a:r>
          </a:p>
        </p:txBody>
      </p:sp>
      <p:sp>
        <p:nvSpPr>
          <p:cNvPr id="1206" name="TextBox 1205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7" name="Picture 1206" descr="ipp_omar_rguibi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08" name="TextBox 1207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mar </a:t>
            </a:r>
            <a:br/>
            <a:r>
              <a:t>Rguibi</a:t>
            </a:r>
            <a:br/>
            <a:r>
              <a:t>Associate</a:t>
            </a:r>
          </a:p>
        </p:txBody>
      </p:sp>
      <p:sp>
        <p:nvSpPr>
          <p:cNvPr id="1209" name="TextBox 1208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0" name="Picture 1209" descr="ipp_rachid_lafnich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11" name="TextBox 1210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chid </a:t>
            </a:r>
            <a:br/>
            <a:r>
              <a:t>Lafnich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12" name="TextBox 1211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3" name="Picture 1212" descr="ipp_wail_sallaq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029200" y="3108960"/>
            <a:ext cx="731520" cy="731520"/>
          </a:xfrm>
          <a:prstGeom prst="rect">
            <a:avLst/>
          </a:prstGeom>
        </p:spPr>
      </p:pic>
      <p:sp>
        <p:nvSpPr>
          <p:cNvPr id="1214" name="TextBox 1213"/>
          <p:cNvSpPr txBox="1"/>
          <p:nvPr/>
        </p:nvSpPr>
        <p:spPr>
          <a:xfrm>
            <a:off x="5029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Wail </a:t>
            </a:r>
            <a:br/>
            <a:r>
              <a:t>Sallaq</a:t>
            </a:r>
            <a:br/>
            <a:r>
              <a:t>Analyst</a:t>
            </a:r>
          </a:p>
        </p:txBody>
      </p:sp>
      <p:sp>
        <p:nvSpPr>
          <p:cNvPr id="1215" name="TextBox 1214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6" name="Picture 1215" descr="ipp_yasmina_iben_brahim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943600" y="3108960"/>
            <a:ext cx="731520" cy="731520"/>
          </a:xfrm>
          <a:prstGeom prst="rect">
            <a:avLst/>
          </a:prstGeom>
        </p:spPr>
      </p:pic>
      <p:sp>
        <p:nvSpPr>
          <p:cNvPr id="1217" name="TextBox 1216"/>
          <p:cNvSpPr txBox="1"/>
          <p:nvPr/>
        </p:nvSpPr>
        <p:spPr>
          <a:xfrm>
            <a:off x="5943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asmina </a:t>
            </a:r>
            <a:br/>
            <a:r>
              <a:t>Iben Brahim</a:t>
            </a:r>
            <a:br/>
            <a:r>
              <a:t>Associate</a:t>
            </a:r>
          </a:p>
        </p:txBody>
      </p:sp>
      <p:sp>
        <p:nvSpPr>
          <p:cNvPr id="1218" name="TextBox 1217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9" name="Picture 1218" descr="ipp_zakia_azzedin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858000" y="3108960"/>
            <a:ext cx="731520" cy="731520"/>
          </a:xfrm>
          <a:prstGeom prst="rect">
            <a:avLst/>
          </a:prstGeom>
        </p:spPr>
      </p:pic>
      <p:sp>
        <p:nvSpPr>
          <p:cNvPr id="1220" name="TextBox 1219"/>
          <p:cNvSpPr txBox="1"/>
          <p:nvPr/>
        </p:nvSpPr>
        <p:spPr>
          <a:xfrm>
            <a:off x="6858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akia </a:t>
            </a:r>
            <a:br/>
            <a:r>
              <a:t>Azzedin</a:t>
            </a:r>
            <a:br/>
            <a:r>
              <a:t>Analyst</a:t>
            </a:r>
          </a:p>
        </p:txBody>
      </p:sp>
      <p:sp>
        <p:nvSpPr>
          <p:cNvPr id="1221" name="TextBox 1220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22" name="Picture 1221" descr="ipp_jonathan_sumbobo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57200" y="5669280"/>
            <a:ext cx="731520" cy="731520"/>
          </a:xfrm>
          <a:prstGeom prst="rect">
            <a:avLst/>
          </a:prstGeom>
        </p:spPr>
      </p:pic>
      <p:sp>
        <p:nvSpPr>
          <p:cNvPr id="1223" name="TextBox 1222"/>
          <p:cNvSpPr txBox="1"/>
          <p:nvPr/>
        </p:nvSpPr>
        <p:spPr>
          <a:xfrm>
            <a:off x="4572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Jonathan </a:t>
            </a:r>
            <a:br/>
            <a:r>
              <a:t>Sumbobo</a:t>
            </a:r>
            <a:br/>
            <a:r>
              <a:t>Associate</a:t>
            </a:r>
          </a:p>
        </p:txBody>
      </p:sp>
      <p:sp>
        <p:nvSpPr>
          <p:cNvPr id="1224" name="TextBox 1223"/>
          <p:cNvSpPr txBox="1"/>
          <p:nvPr/>
        </p:nvSpPr>
        <p:spPr>
          <a:xfrm>
            <a:off x="4572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  <p:extLst>
      <p:ext uri="{BB962C8B-B14F-4D97-AF65-F5344CB8AC3E}">
        <p14:creationId xmlns:p14="http://schemas.microsoft.com/office/powerpoint/2010/main" val="29062876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007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CG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7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61112" y="45130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46112" y="45899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193" y="4485464"/>
            <a:ext cx="365760" cy="209398"/>
          </a:xfrm>
          <a:prstGeom prst="rect">
            <a:avLst/>
          </a:prstGeom>
        </p:spPr>
      </p:pic>
      <p:pic>
        <p:nvPicPr>
          <p:cNvPr id="1249" name="Picture 1248" descr="ipp_ali_kabil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250" name="TextBox 1249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li </a:t>
            </a:r>
            <a:br/>
            <a:r>
              <a:t>Kabil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51" name="TextBox 1250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2" name="Picture 1251" descr="ipp_amina_helmy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253" name="TextBox 1252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a </a:t>
            </a:r>
            <a:br/>
            <a:r>
              <a:t>Helmy</a:t>
            </a:r>
            <a:br/>
            <a:r>
              <a:t>Analyst</a:t>
            </a:r>
          </a:p>
        </p:txBody>
      </p:sp>
      <p:sp>
        <p:nvSpPr>
          <p:cNvPr id="1254" name="TextBox 1253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5" name="Picture 1254" descr="ipp_ayten_ismai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256" name="TextBox 1255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yten </a:t>
            </a:r>
            <a:br/>
            <a:r>
              <a:t>Ismail</a:t>
            </a:r>
            <a:br/>
            <a:r>
              <a:t>Associate</a:t>
            </a:r>
          </a:p>
        </p:txBody>
      </p:sp>
      <p:sp>
        <p:nvSpPr>
          <p:cNvPr id="1257" name="TextBox 1256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58" name="Picture 1257" descr="ipp_dina_amer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259" name="TextBox 1258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ina </a:t>
            </a:r>
            <a:br/>
            <a:r>
              <a:t>Amer</a:t>
            </a:r>
            <a:br/>
            <a:r>
              <a:t>Associate</a:t>
            </a:r>
          </a:p>
        </p:txBody>
      </p:sp>
      <p:sp>
        <p:nvSpPr>
          <p:cNvPr id="1260" name="TextBox 1259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1" name="Picture 1260" descr="ipp_hebatallah_mohamed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262" name="TextBox 1261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Hebatallah Mohamed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63" name="TextBox 1262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4" name="Picture 1263" descr="ipp_ignacio_jimenez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265" name="TextBox 1264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gnacio </a:t>
            </a:r>
            <a:br/>
            <a:r>
              <a:t>Jimenez</a:t>
            </a:r>
            <a:br/>
            <a:r>
              <a:t>Associate</a:t>
            </a:r>
          </a:p>
        </p:txBody>
      </p:sp>
      <p:sp>
        <p:nvSpPr>
          <p:cNvPr id="1266" name="TextBox 1265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67" name="Picture 1266" descr="ipp_islam_essa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268" name="TextBox 1267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slam </a:t>
            </a:r>
            <a:br/>
            <a:r>
              <a:t>Essa</a:t>
            </a:r>
            <a:br/>
            <a:r>
              <a:t>Associate</a:t>
            </a:r>
          </a:p>
        </p:txBody>
      </p:sp>
      <p:sp>
        <p:nvSpPr>
          <p:cNvPr id="1269" name="TextBox 1268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0" name="Picture 1269" descr="ipp_khaled_zahran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271" name="TextBox 1270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led </a:t>
            </a:r>
            <a:br/>
            <a:r>
              <a:t>Zahran</a:t>
            </a:r>
            <a:br/>
            <a:r>
              <a:t>Analyst</a:t>
            </a:r>
          </a:p>
        </p:txBody>
      </p:sp>
      <p:sp>
        <p:nvSpPr>
          <p:cNvPr id="1272" name="TextBox 1271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3" name="Picture 1272" descr="ipp_laila_karam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274" name="TextBox 1273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Laila </a:t>
            </a:r>
            <a:br/>
            <a:r>
              <a:t>Karam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75" name="TextBox 1274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6" name="Picture 1275" descr="ipp_marie_jose_tarazi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277" name="TextBox 1276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e </a:t>
            </a:r>
            <a:br/>
            <a:r>
              <a:t>Jose Taraz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78" name="TextBox 1277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79" name="Picture 1278" descr="ipp_mohamed_diaa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280" name="TextBox 1279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ohamed Diaa</a:t>
            </a:r>
            <a:br/>
            <a:r>
              <a:t>Analyst</a:t>
            </a:r>
          </a:p>
        </p:txBody>
      </p:sp>
      <p:sp>
        <p:nvSpPr>
          <p:cNvPr id="1281" name="TextBox 1280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2" name="Picture 1281" descr="ipp_mohamed_ghareeb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283" name="TextBox 1282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Ghareeb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84" name="TextBox 1283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5" name="Picture 1284" descr="ipp_mohamed_tawakkol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286" name="TextBox 1285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Tawakkol</a:t>
            </a:r>
            <a:br/>
            <a:r>
              <a:t>Analyst</a:t>
            </a:r>
          </a:p>
        </p:txBody>
      </p:sp>
      <p:sp>
        <p:nvSpPr>
          <p:cNvPr id="1287" name="TextBox 1286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88" name="Picture 1287" descr="ipp_mohammad_sayed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89" name="TextBox 1288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ohammad Sayed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90" name="TextBox 1289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1" name="Picture 1290" descr="ipp_nada_shabaka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92" name="TextBox 1291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a </a:t>
            </a:r>
            <a:br/>
            <a:r>
              <a:t>Shabaka</a:t>
            </a:r>
            <a:br/>
            <a:r>
              <a:t>Analyst</a:t>
            </a:r>
          </a:p>
        </p:txBody>
      </p:sp>
      <p:sp>
        <p:nvSpPr>
          <p:cNvPr id="1293" name="TextBox 1292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4" name="Picture 1293" descr="ipp_nadine_hashad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95" name="TextBox 1294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adine </a:t>
            </a:r>
            <a:br/>
            <a:r>
              <a:t>Hashad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96" name="TextBox 1295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97" name="Picture 1296" descr="ipp_rola_hesham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98" name="TextBox 1297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ola </a:t>
            </a:r>
            <a:br/>
            <a:r>
              <a:t>Hesham</a:t>
            </a:r>
            <a:br/>
            <a:r>
              <a:t>Associate</a:t>
            </a:r>
          </a:p>
        </p:txBody>
      </p:sp>
      <p:sp>
        <p:nvSpPr>
          <p:cNvPr id="1299" name="TextBox 1298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0" name="Picture 1299" descr="ipp_sarah_dawerkly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029200" y="3108960"/>
            <a:ext cx="731520" cy="731520"/>
          </a:xfrm>
          <a:prstGeom prst="rect">
            <a:avLst/>
          </a:prstGeom>
        </p:spPr>
      </p:pic>
      <p:sp>
        <p:nvSpPr>
          <p:cNvPr id="1301" name="TextBox 1300"/>
          <p:cNvSpPr txBox="1"/>
          <p:nvPr/>
        </p:nvSpPr>
        <p:spPr>
          <a:xfrm>
            <a:off x="5029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rah </a:t>
            </a:r>
            <a:br/>
            <a:r>
              <a:t>Dawerkly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302" name="TextBox 1301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3" name="Picture 1302" descr="ipp_seif_ghanem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943600" y="3108960"/>
            <a:ext cx="731520" cy="731520"/>
          </a:xfrm>
          <a:prstGeom prst="rect">
            <a:avLst/>
          </a:prstGeom>
        </p:spPr>
      </p:pic>
      <p:sp>
        <p:nvSpPr>
          <p:cNvPr id="1304" name="TextBox 1303"/>
          <p:cNvSpPr txBox="1"/>
          <p:nvPr/>
        </p:nvSpPr>
        <p:spPr>
          <a:xfrm>
            <a:off x="5943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eif </a:t>
            </a:r>
            <a:br/>
            <a:r>
              <a:t>Ghanem</a:t>
            </a:r>
            <a:br/>
            <a:r>
              <a:t>Analyst</a:t>
            </a:r>
          </a:p>
        </p:txBody>
      </p:sp>
      <p:sp>
        <p:nvSpPr>
          <p:cNvPr id="1305" name="TextBox 1304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306" name="Picture 1305" descr="ipp_shaimaa_radi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858000" y="3108960"/>
            <a:ext cx="731520" cy="731520"/>
          </a:xfrm>
          <a:prstGeom prst="rect">
            <a:avLst/>
          </a:prstGeom>
        </p:spPr>
      </p:pic>
      <p:sp>
        <p:nvSpPr>
          <p:cNvPr id="1307" name="TextBox 1306"/>
          <p:cNvSpPr txBox="1"/>
          <p:nvPr/>
        </p:nvSpPr>
        <p:spPr>
          <a:xfrm>
            <a:off x="6858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Shaimaa Radi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308" name="TextBox 1307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  <p:extLst>
      <p:ext uri="{BB962C8B-B14F-4D97-AF65-F5344CB8AC3E}">
        <p14:creationId xmlns:p14="http://schemas.microsoft.com/office/powerpoint/2010/main" val="7249422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718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CG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1162" name="Picture 1161" descr="ipp_aawatif_mounkid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163" name="TextBox 1162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awatif </a:t>
            </a:r>
            <a:br/>
            <a:r>
              <a:t>Mounkid</a:t>
            </a:r>
            <a:br/>
            <a:r>
              <a:t>Analyst</a:t>
            </a:r>
          </a:p>
        </p:txBody>
      </p:sp>
      <p:sp>
        <p:nvSpPr>
          <p:cNvPr id="1164" name="TextBox 1163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5" name="Picture 1164" descr="ipp_abderrahmane_bahmida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166" name="TextBox 1165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errahmane Bahmida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67" name="TextBox 1166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68" name="Picture 1167" descr="ipp_amina_bahlaouan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169" name="TextBox 1168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a </a:t>
            </a:r>
            <a:br/>
            <a:r>
              <a:t>Bahlaouane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70" name="TextBox 1169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1" name="Picture 1170" descr="ipp_amine_fellahi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172" name="TextBox 1171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e </a:t>
            </a:r>
            <a:br/>
            <a:r>
              <a:t>Fellahi</a:t>
            </a:r>
            <a:br/>
            <a:r>
              <a:t>Analyst</a:t>
            </a:r>
          </a:p>
        </p:txBody>
      </p:sp>
      <p:sp>
        <p:nvSpPr>
          <p:cNvPr id="1173" name="TextBox 1172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4" name="Picture 1173" descr="ipp_assia_sabir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175" name="TextBox 1174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ssia </a:t>
            </a:r>
            <a:br/>
            <a:r>
              <a:t>Sabir</a:t>
            </a:r>
            <a:br/>
            <a:r>
              <a:t>Analyst</a:t>
            </a:r>
          </a:p>
        </p:txBody>
      </p:sp>
      <p:sp>
        <p:nvSpPr>
          <p:cNvPr id="1176" name="TextBox 1175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77" name="Picture 1176" descr="ipp_ayda_benjelloun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29200" y="1737360"/>
            <a:ext cx="731520" cy="731520"/>
          </a:xfrm>
          <a:prstGeom prst="rect">
            <a:avLst/>
          </a:prstGeom>
        </p:spPr>
      </p:pic>
      <p:sp>
        <p:nvSpPr>
          <p:cNvPr id="1178" name="TextBox 1177"/>
          <p:cNvSpPr txBox="1"/>
          <p:nvPr/>
        </p:nvSpPr>
        <p:spPr>
          <a:xfrm>
            <a:off x="5029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yda </a:t>
            </a:r>
            <a:br/>
            <a:r>
              <a:t>Benjelloun</a:t>
            </a:r>
            <a:br/>
            <a:r>
              <a:t>Analyst</a:t>
            </a:r>
          </a:p>
        </p:txBody>
      </p:sp>
      <p:sp>
        <p:nvSpPr>
          <p:cNvPr id="1179" name="TextBox 1178"/>
          <p:cNvSpPr txBox="1"/>
          <p:nvPr/>
        </p:nvSpPr>
        <p:spPr>
          <a:xfrm>
            <a:off x="5029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0" name="Picture 1179" descr="ipp_badr_el_kamli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43600" y="1737360"/>
            <a:ext cx="731520" cy="731520"/>
          </a:xfrm>
          <a:prstGeom prst="rect">
            <a:avLst/>
          </a:prstGeom>
        </p:spPr>
      </p:pic>
      <p:sp>
        <p:nvSpPr>
          <p:cNvPr id="1181" name="TextBox 1180"/>
          <p:cNvSpPr txBox="1"/>
          <p:nvPr/>
        </p:nvSpPr>
        <p:spPr>
          <a:xfrm>
            <a:off x="5943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adr El </a:t>
            </a:r>
            <a:br/>
            <a:r>
              <a:t>Kaml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2" name="TextBox 1181"/>
          <p:cNvSpPr txBox="1"/>
          <p:nvPr/>
        </p:nvSpPr>
        <p:spPr>
          <a:xfrm>
            <a:off x="5943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3" name="Picture 1182" descr="ipp_hiba_el_harrak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8000" y="1737360"/>
            <a:ext cx="731520" cy="731520"/>
          </a:xfrm>
          <a:prstGeom prst="rect">
            <a:avLst/>
          </a:prstGeom>
        </p:spPr>
      </p:pic>
      <p:sp>
        <p:nvSpPr>
          <p:cNvPr id="1184" name="TextBox 1183"/>
          <p:cNvSpPr txBox="1"/>
          <p:nvPr/>
        </p:nvSpPr>
        <p:spPr>
          <a:xfrm>
            <a:off x="6858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iba El </a:t>
            </a:r>
            <a:br/>
            <a:r>
              <a:t>Harrak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5" name="TextBox 1184"/>
          <p:cNvSpPr txBox="1"/>
          <p:nvPr/>
        </p:nvSpPr>
        <p:spPr>
          <a:xfrm>
            <a:off x="6858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6" name="Picture 1185" descr="ipp_ismail_el_bouni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72400" y="1737360"/>
            <a:ext cx="731520" cy="731520"/>
          </a:xfrm>
          <a:prstGeom prst="rect">
            <a:avLst/>
          </a:prstGeom>
        </p:spPr>
      </p:pic>
      <p:sp>
        <p:nvSpPr>
          <p:cNvPr id="1187" name="TextBox 1186"/>
          <p:cNvSpPr txBox="1"/>
          <p:nvPr/>
        </p:nvSpPr>
        <p:spPr>
          <a:xfrm>
            <a:off x="7772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smail </a:t>
            </a:r>
            <a:br/>
            <a:r>
              <a:t>El Bouni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188" name="TextBox 1187"/>
          <p:cNvSpPr txBox="1"/>
          <p:nvPr/>
        </p:nvSpPr>
        <p:spPr>
          <a:xfrm>
            <a:off x="7772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89" name="Picture 1188" descr="ipp_ismaïl_el_mansouri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86800" y="1737360"/>
            <a:ext cx="731520" cy="731520"/>
          </a:xfrm>
          <a:prstGeom prst="rect">
            <a:avLst/>
          </a:prstGeom>
        </p:spPr>
      </p:pic>
      <p:sp>
        <p:nvSpPr>
          <p:cNvPr id="1190" name="TextBox 1189"/>
          <p:cNvSpPr txBox="1"/>
          <p:nvPr/>
        </p:nvSpPr>
        <p:spPr>
          <a:xfrm>
            <a:off x="8686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smaïl El </a:t>
            </a:r>
            <a:br/>
            <a:r>
              <a:t>Mansouri</a:t>
            </a:r>
            <a:br/>
            <a:r>
              <a:t>Analyst</a:t>
            </a:r>
          </a:p>
        </p:txBody>
      </p:sp>
      <p:sp>
        <p:nvSpPr>
          <p:cNvPr id="1191" name="TextBox 1190"/>
          <p:cNvSpPr txBox="1"/>
          <p:nvPr/>
        </p:nvSpPr>
        <p:spPr>
          <a:xfrm>
            <a:off x="8686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2" name="Picture 1191" descr="ipp_iuliia_ivanova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1200" y="1737360"/>
            <a:ext cx="731520" cy="731520"/>
          </a:xfrm>
          <a:prstGeom prst="rect">
            <a:avLst/>
          </a:prstGeom>
        </p:spPr>
      </p:pic>
      <p:sp>
        <p:nvSpPr>
          <p:cNvPr id="1193" name="TextBox 1192"/>
          <p:cNvSpPr txBox="1"/>
          <p:nvPr/>
        </p:nvSpPr>
        <p:spPr>
          <a:xfrm>
            <a:off x="9601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uliia </a:t>
            </a:r>
            <a:br/>
            <a:r>
              <a:t>Ivanova</a:t>
            </a:r>
            <a:br/>
            <a:r>
              <a:t>Associate</a:t>
            </a:r>
          </a:p>
        </p:txBody>
      </p:sp>
      <p:sp>
        <p:nvSpPr>
          <p:cNvPr id="1194" name="TextBox 1193"/>
          <p:cNvSpPr txBox="1"/>
          <p:nvPr/>
        </p:nvSpPr>
        <p:spPr>
          <a:xfrm>
            <a:off x="9601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5" name="Picture 1194" descr="ipp_jihane_benazzouz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15600" y="1737360"/>
            <a:ext cx="731520" cy="731520"/>
          </a:xfrm>
          <a:prstGeom prst="rect">
            <a:avLst/>
          </a:prstGeom>
        </p:spPr>
      </p:pic>
      <p:sp>
        <p:nvSpPr>
          <p:cNvPr id="1196" name="TextBox 1195"/>
          <p:cNvSpPr txBox="1"/>
          <p:nvPr/>
        </p:nvSpPr>
        <p:spPr>
          <a:xfrm>
            <a:off x="10515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Jihane </a:t>
            </a:r>
            <a:br/>
            <a:r>
              <a:t>Benazzouz</a:t>
            </a:r>
            <a:br/>
            <a:r>
              <a:t>Associate</a:t>
            </a:r>
          </a:p>
        </p:txBody>
      </p:sp>
      <p:sp>
        <p:nvSpPr>
          <p:cNvPr id="1197" name="TextBox 1196"/>
          <p:cNvSpPr txBox="1"/>
          <p:nvPr/>
        </p:nvSpPr>
        <p:spPr>
          <a:xfrm>
            <a:off x="10515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198" name="Picture 1197" descr="ipp_khawla_jaidi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199" name="TextBox 1198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wla </a:t>
            </a:r>
            <a:br/>
            <a:r>
              <a:t>Jaidi</a:t>
            </a:r>
            <a:br/>
            <a:r>
              <a:t>Associate</a:t>
            </a:r>
          </a:p>
        </p:txBody>
      </p:sp>
      <p:sp>
        <p:nvSpPr>
          <p:cNvPr id="1200" name="TextBox 1199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1" name="Picture 1200" descr="ipp_othmane_jabal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371600" y="3108960"/>
            <a:ext cx="731520" cy="731520"/>
          </a:xfrm>
          <a:prstGeom prst="rect">
            <a:avLst/>
          </a:prstGeom>
        </p:spPr>
      </p:pic>
      <p:sp>
        <p:nvSpPr>
          <p:cNvPr id="1202" name="TextBox 1201"/>
          <p:cNvSpPr txBox="1"/>
          <p:nvPr/>
        </p:nvSpPr>
        <p:spPr>
          <a:xfrm>
            <a:off x="1371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Othmane Jabal</a:t>
            </a:r>
            <a:br/>
            <a:r>
              <a:t>Analyst</a:t>
            </a:r>
          </a:p>
        </p:txBody>
      </p:sp>
      <p:sp>
        <p:nvSpPr>
          <p:cNvPr id="1203" name="TextBox 1202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4" name="Picture 1203" descr="ipp_othmane_moustahsine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86000" y="3108960"/>
            <a:ext cx="731520" cy="731520"/>
          </a:xfrm>
          <a:prstGeom prst="rect">
            <a:avLst/>
          </a:prstGeom>
        </p:spPr>
      </p:pic>
      <p:sp>
        <p:nvSpPr>
          <p:cNvPr id="1205" name="TextBox 1204"/>
          <p:cNvSpPr txBox="1"/>
          <p:nvPr/>
        </p:nvSpPr>
        <p:spPr>
          <a:xfrm>
            <a:off x="2286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thmane </a:t>
            </a:r>
            <a:br/>
            <a:r>
              <a:t>Moustahsine</a:t>
            </a:r>
            <a:br/>
            <a:r>
              <a:t>Associate</a:t>
            </a:r>
          </a:p>
        </p:txBody>
      </p:sp>
      <p:sp>
        <p:nvSpPr>
          <p:cNvPr id="1206" name="TextBox 1205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07" name="Picture 1206" descr="ipp_oussama_stouky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200400" y="3108960"/>
            <a:ext cx="731520" cy="731520"/>
          </a:xfrm>
          <a:prstGeom prst="rect">
            <a:avLst/>
          </a:prstGeom>
        </p:spPr>
      </p:pic>
      <p:sp>
        <p:nvSpPr>
          <p:cNvPr id="1208" name="TextBox 1207"/>
          <p:cNvSpPr txBox="1"/>
          <p:nvPr/>
        </p:nvSpPr>
        <p:spPr>
          <a:xfrm>
            <a:off x="3200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ussama </a:t>
            </a:r>
            <a:br/>
            <a:r>
              <a:t>Stouky</a:t>
            </a:r>
            <a:br/>
            <a:r>
              <a:t>Associate</a:t>
            </a:r>
          </a:p>
        </p:txBody>
      </p:sp>
      <p:sp>
        <p:nvSpPr>
          <p:cNvPr id="1209" name="TextBox 1208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0" name="Picture 1209" descr="ipp_sara_adnaoui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14800" y="3108960"/>
            <a:ext cx="731520" cy="731520"/>
          </a:xfrm>
          <a:prstGeom prst="rect">
            <a:avLst/>
          </a:prstGeom>
        </p:spPr>
      </p:pic>
      <p:sp>
        <p:nvSpPr>
          <p:cNvPr id="1211" name="TextBox 1210"/>
          <p:cNvSpPr txBox="1"/>
          <p:nvPr/>
        </p:nvSpPr>
        <p:spPr>
          <a:xfrm>
            <a:off x="41148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ra </a:t>
            </a:r>
            <a:br/>
            <a:r>
              <a:t>Adnaoui</a:t>
            </a:r>
            <a:br/>
            <a:r>
              <a:t>Associate</a:t>
            </a:r>
          </a:p>
        </p:txBody>
      </p:sp>
      <p:sp>
        <p:nvSpPr>
          <p:cNvPr id="1212" name="TextBox 1211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3" name="Picture 1212" descr="ipp_soulaymane_ezzoubdaoui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029200" y="3108960"/>
            <a:ext cx="731520" cy="731520"/>
          </a:xfrm>
          <a:prstGeom prst="rect">
            <a:avLst/>
          </a:prstGeom>
        </p:spPr>
      </p:pic>
      <p:sp>
        <p:nvSpPr>
          <p:cNvPr id="1214" name="TextBox 1213"/>
          <p:cNvSpPr txBox="1"/>
          <p:nvPr/>
        </p:nvSpPr>
        <p:spPr>
          <a:xfrm>
            <a:off x="5029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oulaymane </a:t>
            </a:r>
            <a:br/>
            <a:r>
              <a:t>Ezzoubdaoui</a:t>
            </a:r>
            <a:br/>
            <a:r>
              <a:t>Analyst</a:t>
            </a:r>
          </a:p>
        </p:txBody>
      </p:sp>
      <p:sp>
        <p:nvSpPr>
          <p:cNvPr id="1215" name="TextBox 1214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6" name="Picture 1215" descr="ipp_wafaa_benlahbib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943600" y="3108960"/>
            <a:ext cx="731520" cy="731520"/>
          </a:xfrm>
          <a:prstGeom prst="rect">
            <a:avLst/>
          </a:prstGeom>
        </p:spPr>
      </p:pic>
      <p:sp>
        <p:nvSpPr>
          <p:cNvPr id="1217" name="TextBox 1216"/>
          <p:cNvSpPr txBox="1"/>
          <p:nvPr/>
        </p:nvSpPr>
        <p:spPr>
          <a:xfrm>
            <a:off x="59436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Wafaa </a:t>
            </a:r>
            <a:br/>
            <a:r>
              <a:t>Benlahbib</a:t>
            </a:r>
            <a:br/>
            <a:r>
              <a:t>Senior</a:t>
            </a:r>
            <a:br/>
            <a:r>
              <a:t>Analyst</a:t>
            </a:r>
          </a:p>
        </p:txBody>
      </p:sp>
      <p:sp>
        <p:nvSpPr>
          <p:cNvPr id="1218" name="TextBox 1217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19" name="Picture 1218" descr="ipp_youssef_mimil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858000" y="3108960"/>
            <a:ext cx="731520" cy="731520"/>
          </a:xfrm>
          <a:prstGeom prst="rect">
            <a:avLst/>
          </a:prstGeom>
        </p:spPr>
      </p:pic>
      <p:sp>
        <p:nvSpPr>
          <p:cNvPr id="1220" name="TextBox 1219"/>
          <p:cNvSpPr txBox="1"/>
          <p:nvPr/>
        </p:nvSpPr>
        <p:spPr>
          <a:xfrm>
            <a:off x="68580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Youssef Mimil</a:t>
            </a:r>
            <a:br/>
            <a:r>
              <a:t>Analyst</a:t>
            </a:r>
          </a:p>
        </p:txBody>
      </p:sp>
      <p:sp>
        <p:nvSpPr>
          <p:cNvPr id="1221" name="TextBox 1220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22" name="Picture 1221" descr="ipp_zouhour_jomaa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72400" y="3108960"/>
            <a:ext cx="731520" cy="731520"/>
          </a:xfrm>
          <a:prstGeom prst="rect">
            <a:avLst/>
          </a:prstGeom>
        </p:spPr>
      </p:pic>
      <p:sp>
        <p:nvSpPr>
          <p:cNvPr id="1223" name="TextBox 1222"/>
          <p:cNvSpPr txBox="1"/>
          <p:nvPr/>
        </p:nvSpPr>
        <p:spPr>
          <a:xfrm>
            <a:off x="77724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Zouhour Jomaa</a:t>
            </a:r>
            <a:br/>
            <a:r>
              <a:t>Associate</a:t>
            </a:r>
          </a:p>
        </p:txBody>
      </p:sp>
      <p:sp>
        <p:nvSpPr>
          <p:cNvPr id="1224" name="TextBox 1223"/>
          <p:cNvSpPr txBox="1"/>
          <p:nvPr/>
        </p:nvSpPr>
        <p:spPr>
          <a:xfrm>
            <a:off x="7772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225" name="Picture 1224" descr="ipp_pietro_morabito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57200" y="5669280"/>
            <a:ext cx="731520" cy="731520"/>
          </a:xfrm>
          <a:prstGeom prst="rect">
            <a:avLst/>
          </a:prstGeom>
        </p:spPr>
      </p:pic>
      <p:sp>
        <p:nvSpPr>
          <p:cNvPr id="1226" name="TextBox 1225"/>
          <p:cNvSpPr txBox="1"/>
          <p:nvPr/>
        </p:nvSpPr>
        <p:spPr>
          <a:xfrm>
            <a:off x="4572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Pietro </a:t>
            </a:r>
            <a:br/>
            <a:r>
              <a:t>Morabito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227" name="TextBox 1226"/>
          <p:cNvSpPr txBox="1"/>
          <p:nvPr/>
        </p:nvSpPr>
        <p:spPr>
          <a:xfrm>
            <a:off x="4572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</p:spTree>
    <p:extLst>
      <p:ext uri="{BB962C8B-B14F-4D97-AF65-F5344CB8AC3E}">
        <p14:creationId xmlns:p14="http://schemas.microsoft.com/office/powerpoint/2010/main" val="412820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7566E8-20B0-E474-86E3-C5456D7C5A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72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6" name="Google Shape;1566;p5"/>
          <p:cNvSpPr txBox="1">
            <a:spLocks noGrp="1"/>
          </p:cNvSpPr>
          <p:nvPr>
            <p:ph type="title"/>
          </p:nvPr>
        </p:nvSpPr>
        <p:spPr>
          <a:xfrm>
            <a:off x="551014" y="57868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usiness Translation Team</a:t>
            </a:r>
            <a:endParaRPr dirty="0"/>
          </a:p>
        </p:txBody>
      </p:sp>
      <p:pic>
        <p:nvPicPr>
          <p:cNvPr id="1567" name="Picture 1566" descr="ipp_ahmed_elsayed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568" name="TextBox 1567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Elsayed</a:t>
            </a:r>
            <a:br/>
            <a:r>
              <a:t>Team Manager</a:t>
            </a:r>
          </a:p>
        </p:txBody>
      </p:sp>
      <p:sp>
        <p:nvSpPr>
          <p:cNvPr id="1569" name="TextBox 1568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70" name="Picture 156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3017520"/>
            <a:ext cx="292608" cy="192505"/>
          </a:xfrm>
          <a:prstGeom prst="rect">
            <a:avLst/>
          </a:prstGeom>
        </p:spPr>
      </p:pic>
      <p:pic>
        <p:nvPicPr>
          <p:cNvPr id="1571" name="Picture 1570" descr="ipp_hazem_adel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572" name="TextBox 1571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zem </a:t>
            </a:r>
            <a:br/>
            <a:r>
              <a:t>Adel</a:t>
            </a:r>
            <a:br/>
            <a:r>
              <a:t>Business</a:t>
            </a:r>
            <a:br/>
            <a:r>
              <a:t>Line Manager</a:t>
            </a:r>
          </a:p>
        </p:txBody>
      </p:sp>
      <p:sp>
        <p:nvSpPr>
          <p:cNvPr id="1573" name="TextBox 1572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74" name="Picture 157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3017520"/>
            <a:ext cx="292608" cy="192505"/>
          </a:xfrm>
          <a:prstGeom prst="rect">
            <a:avLst/>
          </a:prstGeom>
        </p:spPr>
      </p:pic>
      <p:pic>
        <p:nvPicPr>
          <p:cNvPr id="1575" name="Picture 1574" descr="ipp_mohamed_shokhba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576" name="TextBox 1575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Shokhba</a:t>
            </a:r>
            <a:br/>
            <a:r>
              <a:t>Team Lead</a:t>
            </a:r>
          </a:p>
        </p:txBody>
      </p:sp>
      <p:sp>
        <p:nvSpPr>
          <p:cNvPr id="1577" name="TextBox 1576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78" name="Picture 157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880" y="3017520"/>
            <a:ext cx="292608" cy="192505"/>
          </a:xfrm>
          <a:prstGeom prst="rect">
            <a:avLst/>
          </a:prstGeom>
        </p:spPr>
      </p:pic>
      <p:pic>
        <p:nvPicPr>
          <p:cNvPr id="1579" name="Picture 1578" descr="ipp_ahmed_laheeb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200" y="2926080"/>
            <a:ext cx="731520" cy="731520"/>
          </a:xfrm>
          <a:prstGeom prst="rect">
            <a:avLst/>
          </a:prstGeom>
        </p:spPr>
      </p:pic>
      <p:sp>
        <p:nvSpPr>
          <p:cNvPr id="1580" name="TextBox 1579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Laheeb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581" name="TextBox 1580"/>
          <p:cNvSpPr txBox="1"/>
          <p:nvPr/>
        </p:nvSpPr>
        <p:spPr>
          <a:xfrm>
            <a:off x="457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82" name="Picture 158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4206240"/>
            <a:ext cx="292608" cy="192505"/>
          </a:xfrm>
          <a:prstGeom prst="rect">
            <a:avLst/>
          </a:prstGeom>
        </p:spPr>
      </p:pic>
      <p:pic>
        <p:nvPicPr>
          <p:cNvPr id="1583" name="Picture 1582" descr="ipp_ahmed_saied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71600" y="2926080"/>
            <a:ext cx="731520" cy="731520"/>
          </a:xfrm>
          <a:prstGeom prst="rect">
            <a:avLst/>
          </a:prstGeom>
        </p:spPr>
      </p:pic>
      <p:sp>
        <p:nvSpPr>
          <p:cNvPr id="1584" name="TextBox 1583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Saied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585" name="TextBox 1584"/>
          <p:cNvSpPr txBox="1"/>
          <p:nvPr/>
        </p:nvSpPr>
        <p:spPr>
          <a:xfrm>
            <a:off x="1371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86" name="Picture 158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4206240"/>
            <a:ext cx="292608" cy="192505"/>
          </a:xfrm>
          <a:prstGeom prst="rect">
            <a:avLst/>
          </a:prstGeom>
        </p:spPr>
      </p:pic>
      <p:pic>
        <p:nvPicPr>
          <p:cNvPr id="1587" name="Picture 1586" descr="ipp_asmaa_hafez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86000" y="2926080"/>
            <a:ext cx="731520" cy="731520"/>
          </a:xfrm>
          <a:prstGeom prst="rect">
            <a:avLst/>
          </a:prstGeom>
        </p:spPr>
      </p:pic>
      <p:sp>
        <p:nvSpPr>
          <p:cNvPr id="1588" name="TextBox 1587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smaa </a:t>
            </a:r>
            <a:br/>
            <a:r>
              <a:t>Hafez</a:t>
            </a:r>
            <a:br/>
            <a:r>
              <a:t>Associate</a:t>
            </a:r>
          </a:p>
        </p:txBody>
      </p:sp>
      <p:sp>
        <p:nvSpPr>
          <p:cNvPr id="1589" name="TextBox 1588"/>
          <p:cNvSpPr txBox="1"/>
          <p:nvPr/>
        </p:nvSpPr>
        <p:spPr>
          <a:xfrm>
            <a:off x="2286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90" name="Picture 158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880" y="4206240"/>
            <a:ext cx="292608" cy="192505"/>
          </a:xfrm>
          <a:prstGeom prst="rect">
            <a:avLst/>
          </a:prstGeom>
        </p:spPr>
      </p:pic>
      <p:pic>
        <p:nvPicPr>
          <p:cNvPr id="1591" name="Picture 1590" descr="ipp_hagar_elmougy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00400" y="2926080"/>
            <a:ext cx="731520" cy="731520"/>
          </a:xfrm>
          <a:prstGeom prst="rect">
            <a:avLst/>
          </a:prstGeom>
        </p:spPr>
      </p:pic>
      <p:sp>
        <p:nvSpPr>
          <p:cNvPr id="1592" name="TextBox 1591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gar </a:t>
            </a:r>
            <a:br/>
            <a:r>
              <a:t>Elmougy</a:t>
            </a:r>
            <a:br/>
            <a:r>
              <a:t>Associate</a:t>
            </a:r>
          </a:p>
        </p:txBody>
      </p:sp>
      <p:sp>
        <p:nvSpPr>
          <p:cNvPr id="1593" name="TextBox 1592"/>
          <p:cNvSpPr txBox="1"/>
          <p:nvPr/>
        </p:nvSpPr>
        <p:spPr>
          <a:xfrm>
            <a:off x="3200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94" name="Picture 159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3280" y="4206240"/>
            <a:ext cx="292608" cy="192505"/>
          </a:xfrm>
          <a:prstGeom prst="rect">
            <a:avLst/>
          </a:prstGeom>
        </p:spPr>
      </p:pic>
      <p:pic>
        <p:nvPicPr>
          <p:cNvPr id="1595" name="Picture 1594" descr="ipp_hager_farouk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114800" y="2926080"/>
            <a:ext cx="731520" cy="731520"/>
          </a:xfrm>
          <a:prstGeom prst="rect">
            <a:avLst/>
          </a:prstGeom>
        </p:spPr>
      </p:pic>
      <p:sp>
        <p:nvSpPr>
          <p:cNvPr id="1596" name="TextBox 1595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ger </a:t>
            </a:r>
            <a:br/>
            <a:r>
              <a:t>Farouk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597" name="TextBox 1596"/>
          <p:cNvSpPr txBox="1"/>
          <p:nvPr/>
        </p:nvSpPr>
        <p:spPr>
          <a:xfrm>
            <a:off x="4114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598" name="Picture 159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7680" y="4206240"/>
            <a:ext cx="292608" cy="192505"/>
          </a:xfrm>
          <a:prstGeom prst="rect">
            <a:avLst/>
          </a:prstGeom>
        </p:spPr>
      </p:pic>
      <p:pic>
        <p:nvPicPr>
          <p:cNvPr id="1599" name="Picture 1598" descr="ipp_hana_nasser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29200" y="2926080"/>
            <a:ext cx="731520" cy="731520"/>
          </a:xfrm>
          <a:prstGeom prst="rect">
            <a:avLst/>
          </a:prstGeom>
        </p:spPr>
      </p:pic>
      <p:sp>
        <p:nvSpPr>
          <p:cNvPr id="1600" name="TextBox 1599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na </a:t>
            </a:r>
            <a:br/>
            <a:r>
              <a:t>Nasser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01" name="TextBox 1600"/>
          <p:cNvSpPr txBox="1"/>
          <p:nvPr/>
        </p:nvSpPr>
        <p:spPr>
          <a:xfrm>
            <a:off x="5029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02" name="Picture 160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2080" y="4206240"/>
            <a:ext cx="292608" cy="192505"/>
          </a:xfrm>
          <a:prstGeom prst="rect">
            <a:avLst/>
          </a:prstGeom>
        </p:spPr>
      </p:pic>
      <p:pic>
        <p:nvPicPr>
          <p:cNvPr id="1603" name="Picture 1602" descr="ipp_hend_alaaeldin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43600" y="2926080"/>
            <a:ext cx="731520" cy="731520"/>
          </a:xfrm>
          <a:prstGeom prst="rect">
            <a:avLst/>
          </a:prstGeom>
        </p:spPr>
      </p:pic>
      <p:sp>
        <p:nvSpPr>
          <p:cNvPr id="1604" name="TextBox 1603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end </a:t>
            </a:r>
            <a:br/>
            <a:r>
              <a:t>Alaaeldin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05" name="TextBox 1604"/>
          <p:cNvSpPr txBox="1"/>
          <p:nvPr/>
        </p:nvSpPr>
        <p:spPr>
          <a:xfrm>
            <a:off x="5943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06" name="Picture 160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6480" y="4206240"/>
            <a:ext cx="292608" cy="192505"/>
          </a:xfrm>
          <a:prstGeom prst="rect">
            <a:avLst/>
          </a:prstGeom>
        </p:spPr>
      </p:pic>
      <p:pic>
        <p:nvPicPr>
          <p:cNvPr id="1607" name="Picture 1606" descr="ipp_islam_fadel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858000" y="2926080"/>
            <a:ext cx="731520" cy="731520"/>
          </a:xfrm>
          <a:prstGeom prst="rect">
            <a:avLst/>
          </a:prstGeom>
        </p:spPr>
      </p:pic>
      <p:sp>
        <p:nvSpPr>
          <p:cNvPr id="1608" name="TextBox 1607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slam </a:t>
            </a:r>
            <a:br/>
            <a:r>
              <a:t>Fadel</a:t>
            </a:r>
            <a:br/>
            <a:r>
              <a:t>Associate</a:t>
            </a:r>
          </a:p>
        </p:txBody>
      </p:sp>
      <p:sp>
        <p:nvSpPr>
          <p:cNvPr id="1609" name="TextBox 1608"/>
          <p:cNvSpPr txBox="1"/>
          <p:nvPr/>
        </p:nvSpPr>
        <p:spPr>
          <a:xfrm>
            <a:off x="6858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10" name="Picture 160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0880" y="4206240"/>
            <a:ext cx="292608" cy="192505"/>
          </a:xfrm>
          <a:prstGeom prst="rect">
            <a:avLst/>
          </a:prstGeom>
        </p:spPr>
      </p:pic>
      <p:pic>
        <p:nvPicPr>
          <p:cNvPr id="1611" name="Picture 1610" descr="ipp_lara_lotfy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772400" y="2926080"/>
            <a:ext cx="731520" cy="731520"/>
          </a:xfrm>
          <a:prstGeom prst="rect">
            <a:avLst/>
          </a:prstGeom>
        </p:spPr>
      </p:pic>
      <p:sp>
        <p:nvSpPr>
          <p:cNvPr id="1612" name="TextBox 1611"/>
          <p:cNvSpPr txBox="1"/>
          <p:nvPr/>
        </p:nvSpPr>
        <p:spPr>
          <a:xfrm>
            <a:off x="7772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Lara </a:t>
            </a:r>
            <a:br/>
            <a:r>
              <a:t>Lotfy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13" name="TextBox 1612"/>
          <p:cNvSpPr txBox="1"/>
          <p:nvPr/>
        </p:nvSpPr>
        <p:spPr>
          <a:xfrm>
            <a:off x="7772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14" name="Picture 161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55280" y="4206240"/>
            <a:ext cx="292608" cy="192505"/>
          </a:xfrm>
          <a:prstGeom prst="rect">
            <a:avLst/>
          </a:prstGeom>
        </p:spPr>
      </p:pic>
      <p:pic>
        <p:nvPicPr>
          <p:cNvPr id="1615" name="Picture 1614" descr="ipp_mariam_gharieb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686800" y="2926080"/>
            <a:ext cx="731520" cy="731520"/>
          </a:xfrm>
          <a:prstGeom prst="rect">
            <a:avLst/>
          </a:prstGeom>
        </p:spPr>
      </p:pic>
      <p:sp>
        <p:nvSpPr>
          <p:cNvPr id="1616" name="TextBox 1615"/>
          <p:cNvSpPr txBox="1"/>
          <p:nvPr/>
        </p:nvSpPr>
        <p:spPr>
          <a:xfrm>
            <a:off x="8686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Gharieb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617" name="TextBox 1616"/>
          <p:cNvSpPr txBox="1"/>
          <p:nvPr/>
        </p:nvSpPr>
        <p:spPr>
          <a:xfrm>
            <a:off x="8686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18" name="Picture 161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69680" y="4206240"/>
            <a:ext cx="292608" cy="192505"/>
          </a:xfrm>
          <a:prstGeom prst="rect">
            <a:avLst/>
          </a:prstGeom>
        </p:spPr>
      </p:pic>
      <p:pic>
        <p:nvPicPr>
          <p:cNvPr id="1619" name="Picture 1618" descr="ipp_mariam_hassan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601200" y="2926080"/>
            <a:ext cx="731520" cy="731520"/>
          </a:xfrm>
          <a:prstGeom prst="rect">
            <a:avLst/>
          </a:prstGeom>
        </p:spPr>
      </p:pic>
      <p:sp>
        <p:nvSpPr>
          <p:cNvPr id="1620" name="TextBox 1619"/>
          <p:cNvSpPr txBox="1"/>
          <p:nvPr/>
        </p:nvSpPr>
        <p:spPr>
          <a:xfrm>
            <a:off x="9601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Hassan</a:t>
            </a:r>
            <a:br/>
            <a:r>
              <a:t>Associate</a:t>
            </a:r>
          </a:p>
        </p:txBody>
      </p:sp>
      <p:sp>
        <p:nvSpPr>
          <p:cNvPr id="1621" name="TextBox 1620"/>
          <p:cNvSpPr txBox="1"/>
          <p:nvPr/>
        </p:nvSpPr>
        <p:spPr>
          <a:xfrm>
            <a:off x="9601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2" name="Picture 162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84080" y="4206240"/>
            <a:ext cx="292608" cy="192505"/>
          </a:xfrm>
          <a:prstGeom prst="rect">
            <a:avLst/>
          </a:prstGeom>
        </p:spPr>
      </p:pic>
      <p:pic>
        <p:nvPicPr>
          <p:cNvPr id="1623" name="Picture 1622" descr="ipp_mariam_morsy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515600" y="2926080"/>
            <a:ext cx="731520" cy="731520"/>
          </a:xfrm>
          <a:prstGeom prst="rect">
            <a:avLst/>
          </a:prstGeom>
        </p:spPr>
      </p:pic>
      <p:sp>
        <p:nvSpPr>
          <p:cNvPr id="1624" name="TextBox 1623"/>
          <p:cNvSpPr txBox="1"/>
          <p:nvPr/>
        </p:nvSpPr>
        <p:spPr>
          <a:xfrm>
            <a:off x="10515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Morsy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25" name="TextBox 1624"/>
          <p:cNvSpPr txBox="1"/>
          <p:nvPr/>
        </p:nvSpPr>
        <p:spPr>
          <a:xfrm>
            <a:off x="10515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6" name="Picture 162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98480" y="4206240"/>
            <a:ext cx="292608" cy="192505"/>
          </a:xfrm>
          <a:prstGeom prst="rect">
            <a:avLst/>
          </a:prstGeom>
        </p:spPr>
      </p:pic>
      <p:pic>
        <p:nvPicPr>
          <p:cNvPr id="1627" name="Picture 1626" descr="ipp_marina_eskander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57200" y="4297680"/>
            <a:ext cx="731520" cy="731520"/>
          </a:xfrm>
          <a:prstGeom prst="rect">
            <a:avLst/>
          </a:prstGeom>
        </p:spPr>
      </p:pic>
      <p:sp>
        <p:nvSpPr>
          <p:cNvPr id="1628" name="TextBox 1627"/>
          <p:cNvSpPr txBox="1"/>
          <p:nvPr/>
        </p:nvSpPr>
        <p:spPr>
          <a:xfrm>
            <a:off x="457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na </a:t>
            </a:r>
            <a:br/>
            <a:r>
              <a:t>Eskander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29" name="TextBox 1628"/>
          <p:cNvSpPr txBox="1"/>
          <p:nvPr/>
        </p:nvSpPr>
        <p:spPr>
          <a:xfrm>
            <a:off x="457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0" name="Picture 162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5577840"/>
            <a:ext cx="292608" cy="192505"/>
          </a:xfrm>
          <a:prstGeom prst="rect">
            <a:avLst/>
          </a:prstGeom>
        </p:spPr>
      </p:pic>
      <p:pic>
        <p:nvPicPr>
          <p:cNvPr id="1631" name="Picture 1630" descr="ipp_maryam_magdy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371600" y="4297680"/>
            <a:ext cx="731520" cy="731520"/>
          </a:xfrm>
          <a:prstGeom prst="rect">
            <a:avLst/>
          </a:prstGeom>
        </p:spPr>
      </p:pic>
      <p:sp>
        <p:nvSpPr>
          <p:cNvPr id="1632" name="TextBox 1631"/>
          <p:cNvSpPr txBox="1"/>
          <p:nvPr/>
        </p:nvSpPr>
        <p:spPr>
          <a:xfrm>
            <a:off x="1371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yam </a:t>
            </a:r>
            <a:br/>
            <a:r>
              <a:t>Magdy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33" name="TextBox 1632"/>
          <p:cNvSpPr txBox="1"/>
          <p:nvPr/>
        </p:nvSpPr>
        <p:spPr>
          <a:xfrm>
            <a:off x="1371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4" name="Picture 163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5577840"/>
            <a:ext cx="292608" cy="192505"/>
          </a:xfrm>
          <a:prstGeom prst="rect">
            <a:avLst/>
          </a:prstGeom>
        </p:spPr>
      </p:pic>
      <p:pic>
        <p:nvPicPr>
          <p:cNvPr id="1635" name="Picture 1634" descr="ipp_menna-tuallah_moustapha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286000" y="4297680"/>
            <a:ext cx="731520" cy="731520"/>
          </a:xfrm>
          <a:prstGeom prst="rect">
            <a:avLst/>
          </a:prstGeom>
        </p:spPr>
      </p:pic>
      <p:sp>
        <p:nvSpPr>
          <p:cNvPr id="1636" name="TextBox 1635"/>
          <p:cNvSpPr txBox="1"/>
          <p:nvPr/>
        </p:nvSpPr>
        <p:spPr>
          <a:xfrm>
            <a:off x="22860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enna-Tuallah Moustapha</a:t>
            </a:r>
            <a:br/>
            <a:r>
              <a:t>Associate</a:t>
            </a:r>
          </a:p>
        </p:txBody>
      </p:sp>
      <p:sp>
        <p:nvSpPr>
          <p:cNvPr id="1637" name="TextBox 1636"/>
          <p:cNvSpPr txBox="1"/>
          <p:nvPr/>
        </p:nvSpPr>
        <p:spPr>
          <a:xfrm>
            <a:off x="22860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8" name="Picture 163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880" y="5577840"/>
            <a:ext cx="292608" cy="192505"/>
          </a:xfrm>
          <a:prstGeom prst="rect">
            <a:avLst/>
          </a:prstGeom>
        </p:spPr>
      </p:pic>
      <p:pic>
        <p:nvPicPr>
          <p:cNvPr id="1639" name="Picture 1638" descr="ipp_omnia_yousef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200400" y="4297680"/>
            <a:ext cx="731520" cy="731520"/>
          </a:xfrm>
          <a:prstGeom prst="rect">
            <a:avLst/>
          </a:prstGeom>
        </p:spPr>
      </p:pic>
      <p:sp>
        <p:nvSpPr>
          <p:cNvPr id="1640" name="TextBox 1639"/>
          <p:cNvSpPr txBox="1"/>
          <p:nvPr/>
        </p:nvSpPr>
        <p:spPr>
          <a:xfrm>
            <a:off x="32004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mnia </a:t>
            </a:r>
            <a:br/>
            <a:r>
              <a:t>Yousef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41" name="TextBox 1640"/>
          <p:cNvSpPr txBox="1"/>
          <p:nvPr/>
        </p:nvSpPr>
        <p:spPr>
          <a:xfrm>
            <a:off x="32004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2" name="Picture 164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3280" y="5577840"/>
            <a:ext cx="292608" cy="192505"/>
          </a:xfrm>
          <a:prstGeom prst="rect">
            <a:avLst/>
          </a:prstGeom>
        </p:spPr>
      </p:pic>
      <p:pic>
        <p:nvPicPr>
          <p:cNvPr id="1643" name="Picture 1642" descr="ipp_raghda_marzouk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114800" y="4297680"/>
            <a:ext cx="731520" cy="731520"/>
          </a:xfrm>
          <a:prstGeom prst="rect">
            <a:avLst/>
          </a:prstGeom>
        </p:spPr>
      </p:pic>
      <p:sp>
        <p:nvSpPr>
          <p:cNvPr id="1644" name="TextBox 1643"/>
          <p:cNvSpPr txBox="1"/>
          <p:nvPr/>
        </p:nvSpPr>
        <p:spPr>
          <a:xfrm>
            <a:off x="41148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ghda </a:t>
            </a:r>
            <a:br/>
            <a:r>
              <a:t>Marzouk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45" name="TextBox 1644"/>
          <p:cNvSpPr txBox="1"/>
          <p:nvPr/>
        </p:nvSpPr>
        <p:spPr>
          <a:xfrm>
            <a:off x="41148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6" name="Picture 164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7680" y="5577840"/>
            <a:ext cx="292608" cy="192505"/>
          </a:xfrm>
          <a:prstGeom prst="rect">
            <a:avLst/>
          </a:prstGeom>
        </p:spPr>
      </p:pic>
      <p:pic>
        <p:nvPicPr>
          <p:cNvPr id="1647" name="Picture 1646" descr="ipp_rana_omar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029200" y="4297680"/>
            <a:ext cx="731520" cy="731520"/>
          </a:xfrm>
          <a:prstGeom prst="rect">
            <a:avLst/>
          </a:prstGeom>
        </p:spPr>
      </p:pic>
      <p:sp>
        <p:nvSpPr>
          <p:cNvPr id="1648" name="TextBox 1647"/>
          <p:cNvSpPr txBox="1"/>
          <p:nvPr/>
        </p:nvSpPr>
        <p:spPr>
          <a:xfrm>
            <a:off x="5029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na </a:t>
            </a:r>
            <a:br/>
            <a:r>
              <a:t>Omar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49" name="TextBox 1648"/>
          <p:cNvSpPr txBox="1"/>
          <p:nvPr/>
        </p:nvSpPr>
        <p:spPr>
          <a:xfrm>
            <a:off x="5029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0" name="Picture 164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2080" y="5577840"/>
            <a:ext cx="292608" cy="192505"/>
          </a:xfrm>
          <a:prstGeom prst="rect">
            <a:avLst/>
          </a:prstGeom>
        </p:spPr>
      </p:pic>
      <p:pic>
        <p:nvPicPr>
          <p:cNvPr id="1651" name="Picture 1650" descr="ipp_sally_khaled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5943600" y="4297680"/>
            <a:ext cx="731520" cy="731520"/>
          </a:xfrm>
          <a:prstGeom prst="rect">
            <a:avLst/>
          </a:prstGeom>
        </p:spPr>
      </p:pic>
      <p:sp>
        <p:nvSpPr>
          <p:cNvPr id="1652" name="TextBox 1651"/>
          <p:cNvSpPr txBox="1"/>
          <p:nvPr/>
        </p:nvSpPr>
        <p:spPr>
          <a:xfrm>
            <a:off x="5943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lly </a:t>
            </a:r>
            <a:br/>
            <a:r>
              <a:t>Khaled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653" name="TextBox 1652"/>
          <p:cNvSpPr txBox="1"/>
          <p:nvPr/>
        </p:nvSpPr>
        <p:spPr>
          <a:xfrm>
            <a:off x="5943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4" name="Picture 165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6480" y="5577840"/>
            <a:ext cx="292608" cy="192505"/>
          </a:xfrm>
          <a:prstGeom prst="rect">
            <a:avLst/>
          </a:prstGeom>
        </p:spPr>
      </p:pic>
      <p:pic>
        <p:nvPicPr>
          <p:cNvPr id="1655" name="Picture 1654" descr="ipp_samar_saad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858000" y="4297680"/>
            <a:ext cx="731520" cy="731520"/>
          </a:xfrm>
          <a:prstGeom prst="rect">
            <a:avLst/>
          </a:prstGeom>
        </p:spPr>
      </p:pic>
      <p:sp>
        <p:nvSpPr>
          <p:cNvPr id="1656" name="TextBox 1655"/>
          <p:cNvSpPr txBox="1"/>
          <p:nvPr/>
        </p:nvSpPr>
        <p:spPr>
          <a:xfrm>
            <a:off x="68580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mar </a:t>
            </a:r>
            <a:br/>
            <a:r>
              <a:t>Saad</a:t>
            </a:r>
            <a:br/>
            <a:r>
              <a:t>Associate</a:t>
            </a:r>
          </a:p>
        </p:txBody>
      </p:sp>
      <p:sp>
        <p:nvSpPr>
          <p:cNvPr id="1657" name="TextBox 1656"/>
          <p:cNvSpPr txBox="1"/>
          <p:nvPr/>
        </p:nvSpPr>
        <p:spPr>
          <a:xfrm>
            <a:off x="68580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8" name="Picture 165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0880" y="5577840"/>
            <a:ext cx="292608" cy="192505"/>
          </a:xfrm>
          <a:prstGeom prst="rect">
            <a:avLst/>
          </a:prstGeom>
        </p:spPr>
      </p:pic>
      <p:pic>
        <p:nvPicPr>
          <p:cNvPr id="1659" name="Picture 1658" descr="ipp_sara_cherif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772400" y="4297680"/>
            <a:ext cx="731520" cy="731520"/>
          </a:xfrm>
          <a:prstGeom prst="rect">
            <a:avLst/>
          </a:prstGeom>
        </p:spPr>
      </p:pic>
      <p:sp>
        <p:nvSpPr>
          <p:cNvPr id="1660" name="TextBox 1659"/>
          <p:cNvSpPr txBox="1"/>
          <p:nvPr/>
        </p:nvSpPr>
        <p:spPr>
          <a:xfrm>
            <a:off x="77724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ra </a:t>
            </a:r>
            <a:br/>
            <a:r>
              <a:t>Cherif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61" name="TextBox 1660"/>
          <p:cNvSpPr txBox="1"/>
          <p:nvPr/>
        </p:nvSpPr>
        <p:spPr>
          <a:xfrm>
            <a:off x="77724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2" name="Picture 166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55280" y="5577840"/>
            <a:ext cx="292608" cy="192505"/>
          </a:xfrm>
          <a:prstGeom prst="rect">
            <a:avLst/>
          </a:prstGeom>
        </p:spPr>
      </p:pic>
      <p:pic>
        <p:nvPicPr>
          <p:cNvPr id="1663" name="Picture 1662" descr="ipp_sherry_magdy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8686800" y="4297680"/>
            <a:ext cx="731520" cy="731520"/>
          </a:xfrm>
          <a:prstGeom prst="rect">
            <a:avLst/>
          </a:prstGeom>
        </p:spPr>
      </p:pic>
      <p:sp>
        <p:nvSpPr>
          <p:cNvPr id="1664" name="TextBox 1663"/>
          <p:cNvSpPr txBox="1"/>
          <p:nvPr/>
        </p:nvSpPr>
        <p:spPr>
          <a:xfrm>
            <a:off x="86868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herry </a:t>
            </a:r>
            <a:br/>
            <a:r>
              <a:t>Magdy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65" name="TextBox 1664"/>
          <p:cNvSpPr txBox="1"/>
          <p:nvPr/>
        </p:nvSpPr>
        <p:spPr>
          <a:xfrm>
            <a:off x="86868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6" name="Picture 166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69680" y="5577840"/>
            <a:ext cx="292608" cy="192505"/>
          </a:xfrm>
          <a:prstGeom prst="rect">
            <a:avLst/>
          </a:prstGeom>
        </p:spPr>
      </p:pic>
      <p:pic>
        <p:nvPicPr>
          <p:cNvPr id="1667" name="Picture 1666" descr="ipp_yara_hassan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601200" y="4297680"/>
            <a:ext cx="731520" cy="731520"/>
          </a:xfrm>
          <a:prstGeom prst="rect">
            <a:avLst/>
          </a:prstGeom>
        </p:spPr>
      </p:pic>
      <p:sp>
        <p:nvSpPr>
          <p:cNvPr id="1668" name="TextBox 1667"/>
          <p:cNvSpPr txBox="1"/>
          <p:nvPr/>
        </p:nvSpPr>
        <p:spPr>
          <a:xfrm>
            <a:off x="9601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ara </a:t>
            </a:r>
            <a:br/>
            <a:r>
              <a:t>Hassan</a:t>
            </a:r>
            <a:br/>
            <a:r>
              <a:t>Senior</a:t>
            </a:r>
            <a:br/>
            <a:r>
              <a:t>Associate</a:t>
            </a:r>
          </a:p>
        </p:txBody>
      </p:sp>
      <p:sp>
        <p:nvSpPr>
          <p:cNvPr id="1669" name="TextBox 1668"/>
          <p:cNvSpPr txBox="1"/>
          <p:nvPr/>
        </p:nvSpPr>
        <p:spPr>
          <a:xfrm>
            <a:off x="9601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0" name="Picture 166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84080" y="5577840"/>
            <a:ext cx="292608" cy="192505"/>
          </a:xfrm>
          <a:prstGeom prst="rect">
            <a:avLst/>
          </a:prstGeom>
        </p:spPr>
      </p:pic>
      <p:pic>
        <p:nvPicPr>
          <p:cNvPr id="1671" name="Picture 1670" descr="ipp_yomna_hassan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515600" y="4297680"/>
            <a:ext cx="731520" cy="731520"/>
          </a:xfrm>
          <a:prstGeom prst="rect">
            <a:avLst/>
          </a:prstGeom>
        </p:spPr>
      </p:pic>
      <p:sp>
        <p:nvSpPr>
          <p:cNvPr id="1672" name="TextBox 1671"/>
          <p:cNvSpPr txBox="1"/>
          <p:nvPr/>
        </p:nvSpPr>
        <p:spPr>
          <a:xfrm>
            <a:off x="10515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mna </a:t>
            </a:r>
            <a:br/>
            <a:r>
              <a:t>Hassan</a:t>
            </a:r>
            <a:br/>
            <a:r>
              <a:t>Business</a:t>
            </a:r>
            <a:br/>
            <a:r>
              <a:t>Translator - Senior</a:t>
            </a:r>
          </a:p>
        </p:txBody>
      </p:sp>
      <p:sp>
        <p:nvSpPr>
          <p:cNvPr id="1673" name="TextBox 1672"/>
          <p:cNvSpPr txBox="1"/>
          <p:nvPr/>
        </p:nvSpPr>
        <p:spPr>
          <a:xfrm>
            <a:off x="10515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4" name="Picture 167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98480" y="5577840"/>
            <a:ext cx="292608" cy="192505"/>
          </a:xfrm>
          <a:prstGeom prst="rect">
            <a:avLst/>
          </a:prstGeom>
        </p:spPr>
      </p:pic>
      <p:pic>
        <p:nvPicPr>
          <p:cNvPr id="1675" name="Picture 1674" descr="ipp_zeina_abdelazim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57200" y="5669280"/>
            <a:ext cx="731520" cy="731520"/>
          </a:xfrm>
          <a:prstGeom prst="rect">
            <a:avLst/>
          </a:prstGeom>
        </p:spPr>
      </p:pic>
      <p:sp>
        <p:nvSpPr>
          <p:cNvPr id="1676" name="TextBox 1675"/>
          <p:cNvSpPr txBox="1"/>
          <p:nvPr/>
        </p:nvSpPr>
        <p:spPr>
          <a:xfrm>
            <a:off x="4572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eina </a:t>
            </a:r>
            <a:br/>
            <a:r>
              <a:t>Abdelazim</a:t>
            </a:r>
            <a:br/>
            <a:r>
              <a:t>Business</a:t>
            </a:r>
            <a:br/>
            <a:r>
              <a:t>Translator</a:t>
            </a:r>
          </a:p>
        </p:txBody>
      </p:sp>
      <p:sp>
        <p:nvSpPr>
          <p:cNvPr id="1677" name="TextBox 1676"/>
          <p:cNvSpPr txBox="1"/>
          <p:nvPr/>
        </p:nvSpPr>
        <p:spPr>
          <a:xfrm>
            <a:off x="4572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8" name="Picture 167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6949440"/>
            <a:ext cx="292608" cy="19250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"/>
          <p:cNvSpPr txBox="1">
            <a:spLocks noGrp="1"/>
          </p:cNvSpPr>
          <p:nvPr>
            <p:ph type="title"/>
          </p:nvPr>
        </p:nvSpPr>
        <p:spPr>
          <a:xfrm>
            <a:off x="566141" y="2494127"/>
            <a:ext cx="3195154" cy="18697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</a:pPr>
            <a:r>
              <a:rPr lang="fr-FR"/>
              <a:t>Infomineo Executive Committee</a:t>
            </a:r>
            <a:endParaRPr/>
          </a:p>
        </p:txBody>
      </p:sp>
      <p:sp>
        <p:nvSpPr>
          <p:cNvPr id="326" name="Google Shape;326;p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</a:t>
            </a:fld>
            <a:endParaRPr/>
          </a:p>
        </p:txBody>
      </p:sp>
      <p:sp>
        <p:nvSpPr>
          <p:cNvPr id="327" name="Google Shape;327;p2"/>
          <p:cNvSpPr/>
          <p:nvPr/>
        </p:nvSpPr>
        <p:spPr>
          <a:xfrm>
            <a:off x="5311275" y="1314000"/>
            <a:ext cx="6075000" cy="4363800"/>
          </a:xfrm>
          <a:prstGeom prst="roundRect">
            <a:avLst>
              <a:gd name="adj" fmla="val 4811"/>
            </a:avLst>
          </a:prstGeom>
          <a:noFill/>
          <a:ln w="9525" cap="rnd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p2"/>
          <p:cNvSpPr txBox="1"/>
          <p:nvPr/>
        </p:nvSpPr>
        <p:spPr>
          <a:xfrm>
            <a:off x="6864618" y="1180269"/>
            <a:ext cx="2790058" cy="2462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accent4"/>
                </a:solidFill>
                <a:latin typeface="Gill Sans"/>
                <a:ea typeface="Gill Sans"/>
                <a:cs typeface="Gill Sans"/>
                <a:sym typeface="Gill Sans"/>
              </a:rPr>
              <a:t>Infomineo Executive Committee</a:t>
            </a:r>
            <a:endParaRPr sz="1600" b="0" i="0" u="none" strike="noStrike" cap="none">
              <a:solidFill>
                <a:schemeClr val="accent4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329" name="Google Shape;329;p2"/>
          <p:cNvSpPr txBox="1"/>
          <p:nvPr/>
        </p:nvSpPr>
        <p:spPr>
          <a:xfrm>
            <a:off x="7456244" y="2729058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Martin</a:t>
            </a:r>
            <a:b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Tronquit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Dubai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p2"/>
          <p:cNvSpPr txBox="1"/>
          <p:nvPr/>
        </p:nvSpPr>
        <p:spPr>
          <a:xfrm>
            <a:off x="8345492" y="2729058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Hamza Laraichi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asablanca</a:t>
            </a:r>
            <a:endParaRPr sz="12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" name="Google Shape;331;p2"/>
          <p:cNvSpPr txBox="1"/>
          <p:nvPr/>
        </p:nvSpPr>
        <p:spPr>
          <a:xfrm>
            <a:off x="7635321" y="1571379"/>
            <a:ext cx="11893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Managing Partners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2" name="Google Shape;332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45492" y="1882332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33" name="Google Shape;333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56244" y="1914088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4" name="Google Shape;334;p2"/>
          <p:cNvSpPr txBox="1"/>
          <p:nvPr/>
        </p:nvSpPr>
        <p:spPr>
          <a:xfrm flipH="1">
            <a:off x="8380449" y="4615334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Faizel Logday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5" name="Google Shape;335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345492" y="3800364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6" name="Google Shape;336;p2"/>
          <p:cNvSpPr txBox="1"/>
          <p:nvPr/>
        </p:nvSpPr>
        <p:spPr>
          <a:xfrm>
            <a:off x="9315282" y="3428998"/>
            <a:ext cx="7460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Finance Directo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7" name="Google Shape;337;p2"/>
          <p:cNvSpPr/>
          <p:nvPr/>
        </p:nvSpPr>
        <p:spPr>
          <a:xfrm>
            <a:off x="9417393" y="4629365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main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rigneux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 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Google Shape;338;p2"/>
          <p:cNvSpPr txBox="1"/>
          <p:nvPr/>
        </p:nvSpPr>
        <p:spPr>
          <a:xfrm>
            <a:off x="8318509" y="3398221"/>
            <a:ext cx="84387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Operating Office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9" name="Google Shape;339;p2" descr="A picture containing person, person, wall, clothing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325338" y="3784138"/>
            <a:ext cx="74606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0" name="Google Shape;340;p2"/>
          <p:cNvSpPr txBox="1"/>
          <p:nvPr/>
        </p:nvSpPr>
        <p:spPr>
          <a:xfrm>
            <a:off x="6336279" y="3384135"/>
            <a:ext cx="7511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Human Capital Office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1" name="Google Shape;341;p2"/>
          <p:cNvPicPr preferRelativeResize="0"/>
          <p:nvPr/>
        </p:nvPicPr>
        <p:blipFill rotWithShape="1">
          <a:blip r:embed="rId7">
            <a:alphaModFix/>
          </a:blip>
          <a:srcRect l="3016" r="3015"/>
          <a:stretch/>
        </p:blipFill>
        <p:spPr>
          <a:xfrm>
            <a:off x="6326994" y="3810769"/>
            <a:ext cx="751200" cy="7377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2" name="Google Shape;342;p2"/>
          <p:cNvSpPr txBox="1"/>
          <p:nvPr/>
        </p:nvSpPr>
        <p:spPr>
          <a:xfrm flipH="1">
            <a:off x="6398715" y="4615334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Dounia Boutaleb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3" name="Google Shape;343;p2"/>
          <p:cNvPicPr preferRelativeResize="0"/>
          <p:nvPr/>
        </p:nvPicPr>
        <p:blipFill rotWithShape="1">
          <a:blip r:embed="rId8">
            <a:alphaModFix/>
          </a:blip>
          <a:srcRect t="4726" b="4716"/>
          <a:stretch/>
        </p:blipFill>
        <p:spPr>
          <a:xfrm>
            <a:off x="7336243" y="3825641"/>
            <a:ext cx="7512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4" name="Google Shape;344;p2"/>
          <p:cNvSpPr txBox="1"/>
          <p:nvPr/>
        </p:nvSpPr>
        <p:spPr>
          <a:xfrm>
            <a:off x="7087479" y="4640914"/>
            <a:ext cx="12846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Matteo </a:t>
            </a:r>
            <a:endParaRPr/>
          </a:p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Gamberale</a:t>
            </a:r>
            <a:endParaRPr sz="1200" b="0" i="0" u="none" strike="noStrike" cap="none">
              <a:solidFill>
                <a:srgbClr val="000000"/>
              </a:solidFill>
              <a:highlight>
                <a:srgbClr val="FFFFFF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Dubai</a:t>
            </a:r>
            <a:endParaRPr sz="12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2"/>
          <p:cNvSpPr txBox="1"/>
          <p:nvPr/>
        </p:nvSpPr>
        <p:spPr>
          <a:xfrm>
            <a:off x="7327036" y="3398221"/>
            <a:ext cx="7511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127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Growth </a:t>
            </a:r>
            <a:endParaRPr/>
          </a:p>
          <a:p>
            <a:pPr marL="127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Officer</a:t>
            </a:r>
            <a:endParaRPr sz="1000" b="0" i="0" u="none" strike="noStrike" cap="none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170BD3-D7A4-A7AB-63CE-93CB306563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170BD3-D7A4-A7AB-63CE-93CB30656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15" name="Google Shape;1615;p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Graphic Design Team</a:t>
            </a:r>
            <a:endParaRPr dirty="0"/>
          </a:p>
        </p:txBody>
      </p:sp>
      <p:sp>
        <p:nvSpPr>
          <p:cNvPr id="1616" name="Google Shape;1616;p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0</a:t>
            </a:fld>
            <a:endParaRPr/>
          </a:p>
        </p:txBody>
      </p:sp>
      <p:pic>
        <p:nvPicPr>
          <p:cNvPr id="1617" name="Picture 1616" descr="ipp_mohamed_osman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737360"/>
            <a:ext cx="731520" cy="731520"/>
          </a:xfrm>
          <a:prstGeom prst="rect">
            <a:avLst/>
          </a:prstGeom>
        </p:spPr>
      </p:pic>
      <p:sp>
        <p:nvSpPr>
          <p:cNvPr id="1618" name="TextBox 1617"/>
          <p:cNvSpPr txBox="1"/>
          <p:nvPr/>
        </p:nvSpPr>
        <p:spPr>
          <a:xfrm>
            <a:off x="4572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Mohamed Osman</a:t>
            </a:r>
            <a:br/>
            <a:r>
              <a:t>Graphic</a:t>
            </a:r>
            <a:br/>
            <a:r>
              <a:t>Design Senior Manager</a:t>
            </a:r>
          </a:p>
        </p:txBody>
      </p:sp>
      <p:sp>
        <p:nvSpPr>
          <p:cNvPr id="1619" name="TextBox 1618"/>
          <p:cNvSpPr txBox="1"/>
          <p:nvPr/>
        </p:nvSpPr>
        <p:spPr>
          <a:xfrm>
            <a:off x="4572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0" name="Picture 161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3017520"/>
            <a:ext cx="292608" cy="192505"/>
          </a:xfrm>
          <a:prstGeom prst="rect">
            <a:avLst/>
          </a:prstGeom>
        </p:spPr>
      </p:pic>
      <p:pic>
        <p:nvPicPr>
          <p:cNvPr id="1621" name="Picture 1620" descr="ipp_noha_nagib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1737360"/>
            <a:ext cx="731520" cy="731520"/>
          </a:xfrm>
          <a:prstGeom prst="rect">
            <a:avLst/>
          </a:prstGeom>
        </p:spPr>
      </p:pic>
      <p:sp>
        <p:nvSpPr>
          <p:cNvPr id="1622" name="TextBox 1621"/>
          <p:cNvSpPr txBox="1"/>
          <p:nvPr/>
        </p:nvSpPr>
        <p:spPr>
          <a:xfrm>
            <a:off x="13716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oha </a:t>
            </a:r>
            <a:br/>
            <a:r>
              <a:t>Nagib</a:t>
            </a:r>
            <a:br/>
            <a:r>
              <a:t>Graphic</a:t>
            </a:r>
            <a:br/>
            <a:r>
              <a:t>Design Creative Lead</a:t>
            </a:r>
          </a:p>
        </p:txBody>
      </p:sp>
      <p:sp>
        <p:nvSpPr>
          <p:cNvPr id="1623" name="TextBox 1622"/>
          <p:cNvSpPr txBox="1"/>
          <p:nvPr/>
        </p:nvSpPr>
        <p:spPr>
          <a:xfrm>
            <a:off x="13716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4" name="Picture 162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3017520"/>
            <a:ext cx="292608" cy="192505"/>
          </a:xfrm>
          <a:prstGeom prst="rect">
            <a:avLst/>
          </a:prstGeom>
        </p:spPr>
      </p:pic>
      <p:pic>
        <p:nvPicPr>
          <p:cNvPr id="1625" name="Picture 1624" descr="ipp_victor_miguel_sanchez_solano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6000" y="1737360"/>
            <a:ext cx="731520" cy="731520"/>
          </a:xfrm>
          <a:prstGeom prst="rect">
            <a:avLst/>
          </a:prstGeom>
        </p:spPr>
      </p:pic>
      <p:sp>
        <p:nvSpPr>
          <p:cNvPr id="1626" name="TextBox 1625"/>
          <p:cNvSpPr txBox="1"/>
          <p:nvPr/>
        </p:nvSpPr>
        <p:spPr>
          <a:xfrm>
            <a:off x="22860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Victor Miguel </a:t>
            </a:r>
            <a:br/>
            <a:r>
              <a:t>Sanchez Solano</a:t>
            </a:r>
            <a:br/>
            <a:r>
              <a:t>Manager</a:t>
            </a:r>
          </a:p>
        </p:txBody>
      </p:sp>
      <p:sp>
        <p:nvSpPr>
          <p:cNvPr id="1627" name="TextBox 1626"/>
          <p:cNvSpPr txBox="1"/>
          <p:nvPr/>
        </p:nvSpPr>
        <p:spPr>
          <a:xfrm>
            <a:off x="22860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28" name="Picture 1627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68880" y="3017520"/>
            <a:ext cx="292608" cy="192505"/>
          </a:xfrm>
          <a:prstGeom prst="rect">
            <a:avLst/>
          </a:prstGeom>
        </p:spPr>
      </p:pic>
      <p:pic>
        <p:nvPicPr>
          <p:cNvPr id="1629" name="Picture 1628" descr="ipp_hamza_lahlou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1737360"/>
            <a:ext cx="731520" cy="731520"/>
          </a:xfrm>
          <a:prstGeom prst="rect">
            <a:avLst/>
          </a:prstGeom>
        </p:spPr>
      </p:pic>
      <p:sp>
        <p:nvSpPr>
          <p:cNvPr id="1630" name="TextBox 1629"/>
          <p:cNvSpPr txBox="1"/>
          <p:nvPr/>
        </p:nvSpPr>
        <p:spPr>
          <a:xfrm>
            <a:off x="32004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mza </a:t>
            </a:r>
            <a:br/>
            <a:r>
              <a:t>Lahlou</a:t>
            </a:r>
            <a:br/>
            <a:r>
              <a:t>GD</a:t>
            </a:r>
            <a:br/>
            <a:r>
              <a:t>Business line Manager</a:t>
            </a:r>
          </a:p>
        </p:txBody>
      </p:sp>
      <p:sp>
        <p:nvSpPr>
          <p:cNvPr id="1631" name="TextBox 1630"/>
          <p:cNvSpPr txBox="1"/>
          <p:nvPr/>
        </p:nvSpPr>
        <p:spPr>
          <a:xfrm>
            <a:off x="32004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2" name="Picture 1631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3280" y="3017520"/>
            <a:ext cx="292608" cy="192505"/>
          </a:xfrm>
          <a:prstGeom prst="rect">
            <a:avLst/>
          </a:prstGeom>
        </p:spPr>
      </p:pic>
      <p:pic>
        <p:nvPicPr>
          <p:cNvPr id="1633" name="Picture 1632" descr="ipp_siham_zaim_idrissi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14800" y="1737360"/>
            <a:ext cx="731520" cy="731520"/>
          </a:xfrm>
          <a:prstGeom prst="rect">
            <a:avLst/>
          </a:prstGeom>
        </p:spPr>
      </p:pic>
      <p:sp>
        <p:nvSpPr>
          <p:cNvPr id="1634" name="TextBox 1633"/>
          <p:cNvSpPr txBox="1"/>
          <p:nvPr/>
        </p:nvSpPr>
        <p:spPr>
          <a:xfrm>
            <a:off x="4114800" y="22250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iham Zaim </a:t>
            </a:r>
            <a:br/>
            <a:r>
              <a:t>Idrissi</a:t>
            </a:r>
            <a:br/>
            <a:r>
              <a:t>Manager</a:t>
            </a:r>
          </a:p>
        </p:txBody>
      </p:sp>
      <p:sp>
        <p:nvSpPr>
          <p:cNvPr id="1635" name="TextBox 1634"/>
          <p:cNvSpPr txBox="1"/>
          <p:nvPr/>
        </p:nvSpPr>
        <p:spPr>
          <a:xfrm>
            <a:off x="4114800" y="20421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36" name="Picture 1635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97680" y="3017520"/>
            <a:ext cx="292608" cy="192505"/>
          </a:xfrm>
          <a:prstGeom prst="rect">
            <a:avLst/>
          </a:prstGeom>
        </p:spPr>
      </p:pic>
      <p:pic>
        <p:nvPicPr>
          <p:cNvPr id="1637" name="Picture 1636" descr="ipp_sophia_nasrallah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7200" y="3108960"/>
            <a:ext cx="731520" cy="731520"/>
          </a:xfrm>
          <a:prstGeom prst="rect">
            <a:avLst/>
          </a:prstGeom>
        </p:spPr>
      </p:pic>
      <p:sp>
        <p:nvSpPr>
          <p:cNvPr id="1638" name="TextBox 1637"/>
          <p:cNvSpPr txBox="1"/>
          <p:nvPr/>
        </p:nvSpPr>
        <p:spPr>
          <a:xfrm>
            <a:off x="457200" y="359664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ophia </a:t>
            </a:r>
            <a:br/>
            <a:r>
              <a:t>Nasrallah</a:t>
            </a:r>
            <a:br/>
            <a:r>
              <a:t>Graphic</a:t>
            </a:r>
            <a:br/>
            <a:r>
              <a:t>Design Creative Lead</a:t>
            </a:r>
          </a:p>
        </p:txBody>
      </p:sp>
      <p:sp>
        <p:nvSpPr>
          <p:cNvPr id="1639" name="TextBox 1638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0" name="Picture 1639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0080" y="4389120"/>
            <a:ext cx="292608" cy="192505"/>
          </a:xfrm>
          <a:prstGeom prst="rect">
            <a:avLst/>
          </a:prstGeom>
        </p:spPr>
      </p:pic>
      <p:pic>
        <p:nvPicPr>
          <p:cNvPr id="1641" name="Picture 1640" descr="ipp_ahmed_hesham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" y="2926080"/>
            <a:ext cx="731520" cy="731520"/>
          </a:xfrm>
          <a:prstGeom prst="rect">
            <a:avLst/>
          </a:prstGeom>
        </p:spPr>
      </p:pic>
      <p:sp>
        <p:nvSpPr>
          <p:cNvPr id="1642" name="TextBox 1641"/>
          <p:cNvSpPr txBox="1"/>
          <p:nvPr/>
        </p:nvSpPr>
        <p:spPr>
          <a:xfrm>
            <a:off x="457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Hesham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643" name="TextBox 1642"/>
          <p:cNvSpPr txBox="1"/>
          <p:nvPr/>
        </p:nvSpPr>
        <p:spPr>
          <a:xfrm>
            <a:off x="457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4" name="Picture 164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" y="4206240"/>
            <a:ext cx="292608" cy="192505"/>
          </a:xfrm>
          <a:prstGeom prst="rect">
            <a:avLst/>
          </a:prstGeom>
        </p:spPr>
      </p:pic>
      <p:pic>
        <p:nvPicPr>
          <p:cNvPr id="1645" name="Picture 1644" descr="ipp_aya_abdallah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71600" y="2926080"/>
            <a:ext cx="731520" cy="731520"/>
          </a:xfrm>
          <a:prstGeom prst="rect">
            <a:avLst/>
          </a:prstGeom>
        </p:spPr>
      </p:pic>
      <p:sp>
        <p:nvSpPr>
          <p:cNvPr id="1646" name="TextBox 1645"/>
          <p:cNvSpPr txBox="1"/>
          <p:nvPr/>
        </p:nvSpPr>
        <p:spPr>
          <a:xfrm>
            <a:off x="1371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ya </a:t>
            </a:r>
            <a:br/>
            <a:r>
              <a:t>Abdallah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647" name="TextBox 1646"/>
          <p:cNvSpPr txBox="1"/>
          <p:nvPr/>
        </p:nvSpPr>
        <p:spPr>
          <a:xfrm>
            <a:off x="1371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48" name="Picture 1647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4480" y="4206240"/>
            <a:ext cx="292608" cy="192505"/>
          </a:xfrm>
          <a:prstGeom prst="rect">
            <a:avLst/>
          </a:prstGeom>
        </p:spPr>
      </p:pic>
      <p:pic>
        <p:nvPicPr>
          <p:cNvPr id="1649" name="Picture 1648" descr="ipp_bassant_khaled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86000" y="2926080"/>
            <a:ext cx="731520" cy="731520"/>
          </a:xfrm>
          <a:prstGeom prst="rect">
            <a:avLst/>
          </a:prstGeom>
        </p:spPr>
      </p:pic>
      <p:sp>
        <p:nvSpPr>
          <p:cNvPr id="1650" name="TextBox 1649"/>
          <p:cNvSpPr txBox="1"/>
          <p:nvPr/>
        </p:nvSpPr>
        <p:spPr>
          <a:xfrm>
            <a:off x="2286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assant </a:t>
            </a:r>
            <a:br/>
            <a:r>
              <a:t>Khaled</a:t>
            </a:r>
            <a:br/>
            <a:r>
              <a:t>Graphic</a:t>
            </a:r>
            <a:br/>
            <a:r>
              <a:t>Designer - Junior</a:t>
            </a:r>
          </a:p>
        </p:txBody>
      </p:sp>
      <p:sp>
        <p:nvSpPr>
          <p:cNvPr id="1651" name="TextBox 1650"/>
          <p:cNvSpPr txBox="1"/>
          <p:nvPr/>
        </p:nvSpPr>
        <p:spPr>
          <a:xfrm>
            <a:off x="2286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2" name="Picture 1651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68880" y="4206240"/>
            <a:ext cx="292608" cy="192505"/>
          </a:xfrm>
          <a:prstGeom prst="rect">
            <a:avLst/>
          </a:prstGeom>
        </p:spPr>
      </p:pic>
      <p:pic>
        <p:nvPicPr>
          <p:cNvPr id="1653" name="Picture 1652" descr="ipp_mariam_ramzy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200400" y="2926080"/>
            <a:ext cx="731520" cy="731520"/>
          </a:xfrm>
          <a:prstGeom prst="rect">
            <a:avLst/>
          </a:prstGeom>
        </p:spPr>
      </p:pic>
      <p:sp>
        <p:nvSpPr>
          <p:cNvPr id="1654" name="TextBox 1653"/>
          <p:cNvSpPr txBox="1"/>
          <p:nvPr/>
        </p:nvSpPr>
        <p:spPr>
          <a:xfrm>
            <a:off x="3200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Ramzy</a:t>
            </a:r>
            <a:br/>
            <a:r>
              <a:t>Graphic</a:t>
            </a:r>
            <a:br/>
            <a:r>
              <a:t>Designer - Junior</a:t>
            </a:r>
          </a:p>
        </p:txBody>
      </p:sp>
      <p:sp>
        <p:nvSpPr>
          <p:cNvPr id="1655" name="TextBox 1654"/>
          <p:cNvSpPr txBox="1"/>
          <p:nvPr/>
        </p:nvSpPr>
        <p:spPr>
          <a:xfrm>
            <a:off x="3200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56" name="Picture 165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3280" y="4206240"/>
            <a:ext cx="292608" cy="192505"/>
          </a:xfrm>
          <a:prstGeom prst="rect">
            <a:avLst/>
          </a:prstGeom>
        </p:spPr>
      </p:pic>
      <p:pic>
        <p:nvPicPr>
          <p:cNvPr id="1657" name="Picture 1656" descr="ipp_radwa_najjar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114800" y="2926080"/>
            <a:ext cx="731520" cy="731520"/>
          </a:xfrm>
          <a:prstGeom prst="rect">
            <a:avLst/>
          </a:prstGeom>
        </p:spPr>
      </p:pic>
      <p:sp>
        <p:nvSpPr>
          <p:cNvPr id="1658" name="TextBox 1657"/>
          <p:cNvSpPr txBox="1"/>
          <p:nvPr/>
        </p:nvSpPr>
        <p:spPr>
          <a:xfrm>
            <a:off x="4114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adwa </a:t>
            </a:r>
            <a:br/>
            <a:r>
              <a:t>Najjar</a:t>
            </a:r>
            <a:br/>
            <a:r>
              <a:t>Graphic</a:t>
            </a:r>
            <a:br/>
            <a:r>
              <a:t>Design Project Coordinator</a:t>
            </a:r>
          </a:p>
        </p:txBody>
      </p:sp>
      <p:sp>
        <p:nvSpPr>
          <p:cNvPr id="1659" name="TextBox 1658"/>
          <p:cNvSpPr txBox="1"/>
          <p:nvPr/>
        </p:nvSpPr>
        <p:spPr>
          <a:xfrm>
            <a:off x="4114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0" name="Picture 1659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7680" y="4206240"/>
            <a:ext cx="292608" cy="192505"/>
          </a:xfrm>
          <a:prstGeom prst="rect">
            <a:avLst/>
          </a:prstGeom>
        </p:spPr>
      </p:pic>
      <p:pic>
        <p:nvPicPr>
          <p:cNvPr id="1661" name="Picture 1660" descr="ipp_samia_elkhodary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029200" y="2926080"/>
            <a:ext cx="731520" cy="731520"/>
          </a:xfrm>
          <a:prstGeom prst="rect">
            <a:avLst/>
          </a:prstGeom>
        </p:spPr>
      </p:pic>
      <p:sp>
        <p:nvSpPr>
          <p:cNvPr id="1662" name="TextBox 1661"/>
          <p:cNvSpPr txBox="1"/>
          <p:nvPr/>
        </p:nvSpPr>
        <p:spPr>
          <a:xfrm>
            <a:off x="5029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mia </a:t>
            </a:r>
            <a:br/>
            <a:r>
              <a:t>Elkhodary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663" name="TextBox 1662"/>
          <p:cNvSpPr txBox="1"/>
          <p:nvPr/>
        </p:nvSpPr>
        <p:spPr>
          <a:xfrm>
            <a:off x="5029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4" name="Picture 1663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2080" y="4206240"/>
            <a:ext cx="292608" cy="192505"/>
          </a:xfrm>
          <a:prstGeom prst="rect">
            <a:avLst/>
          </a:prstGeom>
        </p:spPr>
      </p:pic>
      <p:pic>
        <p:nvPicPr>
          <p:cNvPr id="1665" name="Picture 1664" descr="ipp_diana_laura_cisneros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43600" y="2926080"/>
            <a:ext cx="731520" cy="731520"/>
          </a:xfrm>
          <a:prstGeom prst="rect">
            <a:avLst/>
          </a:prstGeom>
        </p:spPr>
      </p:pic>
      <p:sp>
        <p:nvSpPr>
          <p:cNvPr id="1666" name="TextBox 1665"/>
          <p:cNvSpPr txBox="1"/>
          <p:nvPr/>
        </p:nvSpPr>
        <p:spPr>
          <a:xfrm>
            <a:off x="5943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iana Laura </a:t>
            </a:r>
            <a:br/>
            <a:r>
              <a:t>Cisneros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67" name="TextBox 1666"/>
          <p:cNvSpPr txBox="1"/>
          <p:nvPr/>
        </p:nvSpPr>
        <p:spPr>
          <a:xfrm>
            <a:off x="5943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68" name="Picture 1667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26480" y="4206240"/>
            <a:ext cx="292608" cy="192505"/>
          </a:xfrm>
          <a:prstGeom prst="rect">
            <a:avLst/>
          </a:prstGeom>
        </p:spPr>
      </p:pic>
      <p:pic>
        <p:nvPicPr>
          <p:cNvPr id="1669" name="Picture 1668" descr="ipp_joaquin_castro_caceres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858000" y="2926080"/>
            <a:ext cx="731520" cy="731520"/>
          </a:xfrm>
          <a:prstGeom prst="rect">
            <a:avLst/>
          </a:prstGeom>
        </p:spPr>
      </p:pic>
      <p:sp>
        <p:nvSpPr>
          <p:cNvPr id="1670" name="TextBox 1669"/>
          <p:cNvSpPr txBox="1"/>
          <p:nvPr/>
        </p:nvSpPr>
        <p:spPr>
          <a:xfrm>
            <a:off x="68580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Joaquin </a:t>
            </a:r>
            <a:br/>
            <a:r>
              <a:t>Castro Caceres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671" name="TextBox 1670"/>
          <p:cNvSpPr txBox="1"/>
          <p:nvPr/>
        </p:nvSpPr>
        <p:spPr>
          <a:xfrm>
            <a:off x="6858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2" name="Picture 1671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40880" y="4206240"/>
            <a:ext cx="292608" cy="192505"/>
          </a:xfrm>
          <a:prstGeom prst="rect">
            <a:avLst/>
          </a:prstGeom>
        </p:spPr>
      </p:pic>
      <p:pic>
        <p:nvPicPr>
          <p:cNvPr id="1673" name="Picture 1672" descr="ipp_karla_jamileth_martínez_cancino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772400" y="2926080"/>
            <a:ext cx="731520" cy="731520"/>
          </a:xfrm>
          <a:prstGeom prst="rect">
            <a:avLst/>
          </a:prstGeom>
        </p:spPr>
      </p:pic>
      <p:sp>
        <p:nvSpPr>
          <p:cNvPr id="1674" name="TextBox 1673"/>
          <p:cNvSpPr txBox="1"/>
          <p:nvPr/>
        </p:nvSpPr>
        <p:spPr>
          <a:xfrm>
            <a:off x="77724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arla Jamileth </a:t>
            </a:r>
            <a:br/>
            <a:r>
              <a:t>Martínez Cancino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75" name="TextBox 1674"/>
          <p:cNvSpPr txBox="1"/>
          <p:nvPr/>
        </p:nvSpPr>
        <p:spPr>
          <a:xfrm>
            <a:off x="7772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76" name="Picture 1675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55280" y="4206240"/>
            <a:ext cx="292608" cy="192505"/>
          </a:xfrm>
          <a:prstGeom prst="rect">
            <a:avLst/>
          </a:prstGeom>
        </p:spPr>
      </p:pic>
      <p:pic>
        <p:nvPicPr>
          <p:cNvPr id="1677" name="Picture 1676" descr="ipp_shania_karen_ruiz_gómez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686800" y="2926080"/>
            <a:ext cx="731520" cy="731520"/>
          </a:xfrm>
          <a:prstGeom prst="rect">
            <a:avLst/>
          </a:prstGeom>
        </p:spPr>
      </p:pic>
      <p:sp>
        <p:nvSpPr>
          <p:cNvPr id="1678" name="TextBox 1677"/>
          <p:cNvSpPr txBox="1"/>
          <p:nvPr/>
        </p:nvSpPr>
        <p:spPr>
          <a:xfrm>
            <a:off x="86868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hania Karen </a:t>
            </a:r>
            <a:br/>
            <a:r>
              <a:t>Ruiz Gómez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79" name="TextBox 1678"/>
          <p:cNvSpPr txBox="1"/>
          <p:nvPr/>
        </p:nvSpPr>
        <p:spPr>
          <a:xfrm>
            <a:off x="8686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80" name="Picture 1679" descr="Mexico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69680" y="4206240"/>
            <a:ext cx="292608" cy="192505"/>
          </a:xfrm>
          <a:prstGeom prst="rect">
            <a:avLst/>
          </a:prstGeom>
        </p:spPr>
      </p:pic>
      <p:pic>
        <p:nvPicPr>
          <p:cNvPr id="1681" name="Picture 1680" descr="ipp_abdellah_badis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9601200" y="2926080"/>
            <a:ext cx="731520" cy="731520"/>
          </a:xfrm>
          <a:prstGeom prst="rect">
            <a:avLst/>
          </a:prstGeom>
        </p:spPr>
      </p:pic>
      <p:sp>
        <p:nvSpPr>
          <p:cNvPr id="1682" name="TextBox 1681"/>
          <p:cNvSpPr txBox="1"/>
          <p:nvPr/>
        </p:nvSpPr>
        <p:spPr>
          <a:xfrm>
            <a:off x="96012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 </a:t>
            </a:r>
            <a:br/>
            <a:r>
              <a:t>Abdellah Badis</a:t>
            </a:r>
            <a:br/>
            <a:r>
              <a:t>Graphic</a:t>
            </a:r>
            <a:br/>
            <a:r>
              <a:t>Designer - Junior</a:t>
            </a:r>
          </a:p>
        </p:txBody>
      </p:sp>
      <p:sp>
        <p:nvSpPr>
          <p:cNvPr id="1683" name="TextBox 1682"/>
          <p:cNvSpPr txBox="1"/>
          <p:nvPr/>
        </p:nvSpPr>
        <p:spPr>
          <a:xfrm>
            <a:off x="9601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84" name="Picture 1683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84080" y="4206240"/>
            <a:ext cx="292608" cy="192505"/>
          </a:xfrm>
          <a:prstGeom prst="rect">
            <a:avLst/>
          </a:prstGeom>
        </p:spPr>
      </p:pic>
      <p:pic>
        <p:nvPicPr>
          <p:cNvPr id="1685" name="Picture 1684" descr="ipp_amine_hijaoui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515600" y="2926080"/>
            <a:ext cx="731520" cy="731520"/>
          </a:xfrm>
          <a:prstGeom prst="rect">
            <a:avLst/>
          </a:prstGeom>
        </p:spPr>
      </p:pic>
      <p:sp>
        <p:nvSpPr>
          <p:cNvPr id="1686" name="TextBox 1685"/>
          <p:cNvSpPr txBox="1"/>
          <p:nvPr/>
        </p:nvSpPr>
        <p:spPr>
          <a:xfrm>
            <a:off x="10515600" y="34137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e </a:t>
            </a:r>
            <a:br/>
            <a:r>
              <a:t>Hijaoui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87" name="TextBox 1686"/>
          <p:cNvSpPr txBox="1"/>
          <p:nvPr/>
        </p:nvSpPr>
        <p:spPr>
          <a:xfrm>
            <a:off x="10515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88" name="Picture 1687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98480" y="4206240"/>
            <a:ext cx="292608" cy="192505"/>
          </a:xfrm>
          <a:prstGeom prst="rect">
            <a:avLst/>
          </a:prstGeom>
        </p:spPr>
      </p:pic>
      <p:pic>
        <p:nvPicPr>
          <p:cNvPr id="1689" name="Picture 1688" descr="ipp_fatima_zahra_moussali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57200" y="4297680"/>
            <a:ext cx="731520" cy="731520"/>
          </a:xfrm>
          <a:prstGeom prst="rect">
            <a:avLst/>
          </a:prstGeom>
        </p:spPr>
      </p:pic>
      <p:sp>
        <p:nvSpPr>
          <p:cNvPr id="1690" name="TextBox 1689"/>
          <p:cNvSpPr txBox="1"/>
          <p:nvPr/>
        </p:nvSpPr>
        <p:spPr>
          <a:xfrm>
            <a:off x="457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atima </a:t>
            </a:r>
            <a:br/>
            <a:r>
              <a:t>Zahra Moussali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91" name="TextBox 1690"/>
          <p:cNvSpPr txBox="1"/>
          <p:nvPr/>
        </p:nvSpPr>
        <p:spPr>
          <a:xfrm>
            <a:off x="457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2" name="Picture 1691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0080" y="5577840"/>
            <a:ext cx="292608" cy="192505"/>
          </a:xfrm>
          <a:prstGeom prst="rect">
            <a:avLst/>
          </a:prstGeom>
        </p:spPr>
      </p:pic>
      <p:pic>
        <p:nvPicPr>
          <p:cNvPr id="1693" name="Picture 1692" descr="ipp_ikram_imakbouben.pn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371600" y="4297680"/>
            <a:ext cx="731520" cy="731520"/>
          </a:xfrm>
          <a:prstGeom prst="rect">
            <a:avLst/>
          </a:prstGeom>
        </p:spPr>
      </p:pic>
      <p:sp>
        <p:nvSpPr>
          <p:cNvPr id="1694" name="TextBox 1693"/>
          <p:cNvSpPr txBox="1"/>
          <p:nvPr/>
        </p:nvSpPr>
        <p:spPr>
          <a:xfrm>
            <a:off x="1371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kram </a:t>
            </a:r>
            <a:br/>
            <a:r>
              <a:t>IMAKBOUBEN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95" name="TextBox 1694"/>
          <p:cNvSpPr txBox="1"/>
          <p:nvPr/>
        </p:nvSpPr>
        <p:spPr>
          <a:xfrm>
            <a:off x="1371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6" name="Picture 1695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4480" y="5577840"/>
            <a:ext cx="292608" cy="192505"/>
          </a:xfrm>
          <a:prstGeom prst="rect">
            <a:avLst/>
          </a:prstGeom>
        </p:spPr>
      </p:pic>
      <p:pic>
        <p:nvPicPr>
          <p:cNvPr id="1697" name="Picture 1696" descr="ipp_imane_zouba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2286000" y="4297680"/>
            <a:ext cx="731520" cy="731520"/>
          </a:xfrm>
          <a:prstGeom prst="rect">
            <a:avLst/>
          </a:prstGeom>
        </p:spPr>
      </p:pic>
      <p:sp>
        <p:nvSpPr>
          <p:cNvPr id="1698" name="TextBox 1697"/>
          <p:cNvSpPr txBox="1"/>
          <p:nvPr/>
        </p:nvSpPr>
        <p:spPr>
          <a:xfrm>
            <a:off x="22860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Imane </a:t>
            </a:r>
            <a:br/>
            <a:r>
              <a:t>Zouba</a:t>
            </a:r>
            <a:br/>
            <a:r>
              <a:t>Graphic</a:t>
            </a:r>
            <a:br/>
            <a:r>
              <a:t>Designer</a:t>
            </a:r>
          </a:p>
        </p:txBody>
      </p:sp>
      <p:sp>
        <p:nvSpPr>
          <p:cNvPr id="1699" name="TextBox 1698"/>
          <p:cNvSpPr txBox="1"/>
          <p:nvPr/>
        </p:nvSpPr>
        <p:spPr>
          <a:xfrm>
            <a:off x="22860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0" name="Picture 1699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68880" y="5577840"/>
            <a:ext cx="292608" cy="192505"/>
          </a:xfrm>
          <a:prstGeom prst="rect">
            <a:avLst/>
          </a:prstGeom>
        </p:spPr>
      </p:pic>
      <p:pic>
        <p:nvPicPr>
          <p:cNvPr id="1701" name="Picture 1700" descr="ipp_mohamed_yassine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200400" y="4297680"/>
            <a:ext cx="731520" cy="731520"/>
          </a:xfrm>
          <a:prstGeom prst="rect">
            <a:avLst/>
          </a:prstGeom>
        </p:spPr>
      </p:pic>
      <p:sp>
        <p:nvSpPr>
          <p:cNvPr id="1702" name="TextBox 1701"/>
          <p:cNvSpPr txBox="1"/>
          <p:nvPr/>
        </p:nvSpPr>
        <p:spPr>
          <a:xfrm>
            <a:off x="32004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Yassine</a:t>
            </a:r>
            <a:br/>
            <a:r>
              <a:t>Graphic</a:t>
            </a:r>
            <a:br/>
            <a:r>
              <a:t>Designer - Junior</a:t>
            </a:r>
          </a:p>
        </p:txBody>
      </p:sp>
      <p:sp>
        <p:nvSpPr>
          <p:cNvPr id="1703" name="TextBox 1702"/>
          <p:cNvSpPr txBox="1"/>
          <p:nvPr/>
        </p:nvSpPr>
        <p:spPr>
          <a:xfrm>
            <a:off x="32004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4" name="Picture 1703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3280" y="5577840"/>
            <a:ext cx="292608" cy="192505"/>
          </a:xfrm>
          <a:prstGeom prst="rect">
            <a:avLst/>
          </a:prstGeom>
        </p:spPr>
      </p:pic>
      <p:pic>
        <p:nvPicPr>
          <p:cNvPr id="1705" name="Picture 1704" descr="ipp_othmane_senhadji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4114800" y="4297680"/>
            <a:ext cx="731520" cy="731520"/>
          </a:xfrm>
          <a:prstGeom prst="rect">
            <a:avLst/>
          </a:prstGeom>
        </p:spPr>
      </p:pic>
      <p:sp>
        <p:nvSpPr>
          <p:cNvPr id="1706" name="TextBox 1705"/>
          <p:cNvSpPr txBox="1"/>
          <p:nvPr/>
        </p:nvSpPr>
        <p:spPr>
          <a:xfrm>
            <a:off x="41148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thmane </a:t>
            </a:r>
            <a:br/>
            <a:r>
              <a:t>Senhadji</a:t>
            </a:r>
            <a:br/>
            <a:r>
              <a:t>Graphic</a:t>
            </a:r>
            <a:br/>
            <a:r>
              <a:t>Design Specialist</a:t>
            </a:r>
          </a:p>
        </p:txBody>
      </p:sp>
      <p:sp>
        <p:nvSpPr>
          <p:cNvPr id="1707" name="TextBox 1706"/>
          <p:cNvSpPr txBox="1"/>
          <p:nvPr/>
        </p:nvSpPr>
        <p:spPr>
          <a:xfrm>
            <a:off x="41148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8" name="Picture 1707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97680" y="5577840"/>
            <a:ext cx="292608" cy="192505"/>
          </a:xfrm>
          <a:prstGeom prst="rect">
            <a:avLst/>
          </a:prstGeom>
        </p:spPr>
      </p:pic>
      <p:pic>
        <p:nvPicPr>
          <p:cNvPr id="1709" name="Picture 1708" descr="ipp_youssef_boudaka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5029200" y="4297680"/>
            <a:ext cx="731520" cy="731520"/>
          </a:xfrm>
          <a:prstGeom prst="rect">
            <a:avLst/>
          </a:prstGeom>
        </p:spPr>
      </p:pic>
      <p:sp>
        <p:nvSpPr>
          <p:cNvPr id="1710" name="TextBox 1709"/>
          <p:cNvSpPr txBox="1"/>
          <p:nvPr/>
        </p:nvSpPr>
        <p:spPr>
          <a:xfrm>
            <a:off x="5029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ussef </a:t>
            </a:r>
            <a:br/>
            <a:r>
              <a:t>Boudaka</a:t>
            </a:r>
            <a:br/>
            <a:r>
              <a:t>Graphic</a:t>
            </a:r>
            <a:br/>
            <a:r>
              <a:t>Designer Senior</a:t>
            </a:r>
          </a:p>
        </p:txBody>
      </p:sp>
      <p:sp>
        <p:nvSpPr>
          <p:cNvPr id="1711" name="TextBox 1710"/>
          <p:cNvSpPr txBox="1"/>
          <p:nvPr/>
        </p:nvSpPr>
        <p:spPr>
          <a:xfrm>
            <a:off x="5029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12" name="Picture 1711" descr="imag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12080" y="5577840"/>
            <a:ext cx="292608" cy="19250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74BBDB-9C02-A381-A3C8-A3524993B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32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1" name="Google Shape;1681;g2017e917d32_0_20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 Data Analytics Team</a:t>
            </a:r>
            <a:endParaRPr dirty="0"/>
          </a:p>
        </p:txBody>
      </p:sp>
      <p:sp>
        <p:nvSpPr>
          <p:cNvPr id="1682" name="Google Shape;1682;g2017e917d32_0_20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1</a:t>
            </a:fld>
            <a:endParaRPr/>
          </a:p>
        </p:txBody>
      </p:sp>
      <p:pic>
        <p:nvPicPr>
          <p:cNvPr id="1683" name="Picture 1682" descr="ipp_ahmed_singer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7600" y="1371600"/>
            <a:ext cx="731520" cy="731520"/>
          </a:xfrm>
          <a:prstGeom prst="rect">
            <a:avLst/>
          </a:prstGeom>
        </p:spPr>
      </p:pic>
      <p:sp>
        <p:nvSpPr>
          <p:cNvPr id="1684" name="TextBox 1683"/>
          <p:cNvSpPr txBox="1"/>
          <p:nvPr/>
        </p:nvSpPr>
        <p:spPr>
          <a:xfrm>
            <a:off x="3657600" y="1859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hmed </a:t>
            </a:r>
            <a:br/>
            <a:r>
              <a:t>Singer</a:t>
            </a:r>
            <a:br/>
            <a:r>
              <a:t>Data</a:t>
            </a:r>
            <a:br/>
            <a:r>
              <a:t>Science Manager</a:t>
            </a:r>
          </a:p>
        </p:txBody>
      </p:sp>
      <p:sp>
        <p:nvSpPr>
          <p:cNvPr id="1685" name="TextBox 1684"/>
          <p:cNvSpPr txBox="1"/>
          <p:nvPr/>
        </p:nvSpPr>
        <p:spPr>
          <a:xfrm>
            <a:off x="3657600" y="1676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86" name="Picture 1685" descr="Egypt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40480" y="2651760"/>
            <a:ext cx="292608" cy="192505"/>
          </a:xfrm>
          <a:prstGeom prst="rect">
            <a:avLst/>
          </a:prstGeom>
        </p:spPr>
      </p:pic>
      <p:pic>
        <p:nvPicPr>
          <p:cNvPr id="1687" name="Picture 1686" descr="ipp_hadia_ibnabdeljalil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371600"/>
            <a:ext cx="731520" cy="731520"/>
          </a:xfrm>
          <a:prstGeom prst="rect">
            <a:avLst/>
          </a:prstGeom>
        </p:spPr>
      </p:pic>
      <p:sp>
        <p:nvSpPr>
          <p:cNvPr id="1688" name="TextBox 1687"/>
          <p:cNvSpPr txBox="1"/>
          <p:nvPr/>
        </p:nvSpPr>
        <p:spPr>
          <a:xfrm>
            <a:off x="4572000" y="1859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Hadia </a:t>
            </a:r>
            <a:br/>
            <a:r>
              <a:t>Ibnabdeljalil</a:t>
            </a:r>
            <a:br/>
            <a:r>
              <a:t>Head</a:t>
            </a:r>
            <a:br/>
            <a:r>
              <a:t>of Data Analytics Services</a:t>
            </a:r>
          </a:p>
        </p:txBody>
      </p:sp>
      <p:sp>
        <p:nvSpPr>
          <p:cNvPr id="1689" name="TextBox 1688"/>
          <p:cNvSpPr txBox="1"/>
          <p:nvPr/>
        </p:nvSpPr>
        <p:spPr>
          <a:xfrm>
            <a:off x="4572000" y="1676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0" name="Picture 1689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54880" y="2651760"/>
            <a:ext cx="292608" cy="192505"/>
          </a:xfrm>
          <a:prstGeom prst="rect">
            <a:avLst/>
          </a:prstGeom>
        </p:spPr>
      </p:pic>
      <p:pic>
        <p:nvPicPr>
          <p:cNvPr id="1691" name="Picture 1690" descr="ipp_brahim_alami_hassani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71600" y="2743200"/>
            <a:ext cx="731520" cy="731520"/>
          </a:xfrm>
          <a:prstGeom prst="rect">
            <a:avLst/>
          </a:prstGeom>
        </p:spPr>
      </p:pic>
      <p:sp>
        <p:nvSpPr>
          <p:cNvPr id="1692" name="TextBox 1691"/>
          <p:cNvSpPr txBox="1"/>
          <p:nvPr/>
        </p:nvSpPr>
        <p:spPr>
          <a:xfrm>
            <a:off x="13716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Brahim </a:t>
            </a:r>
            <a:br/>
            <a:r>
              <a:t>Alami Hassani</a:t>
            </a:r>
            <a:br/>
            <a:r>
              <a:t>Data</a:t>
            </a:r>
            <a:br/>
            <a:r>
              <a:t>Scientist - Senior 1</a:t>
            </a:r>
          </a:p>
        </p:txBody>
      </p:sp>
      <p:sp>
        <p:nvSpPr>
          <p:cNvPr id="1693" name="TextBox 1692"/>
          <p:cNvSpPr txBox="1"/>
          <p:nvPr/>
        </p:nvSpPr>
        <p:spPr>
          <a:xfrm>
            <a:off x="13716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4" name="Picture 1693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54480" y="4023360"/>
            <a:ext cx="292608" cy="192505"/>
          </a:xfrm>
          <a:prstGeom prst="rect">
            <a:avLst/>
          </a:prstGeom>
        </p:spPr>
      </p:pic>
      <p:pic>
        <p:nvPicPr>
          <p:cNvPr id="1695" name="Picture 1694" descr="ipp_khaoula_qassibi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86000" y="2743200"/>
            <a:ext cx="731520" cy="731520"/>
          </a:xfrm>
          <a:prstGeom prst="rect">
            <a:avLst/>
          </a:prstGeom>
        </p:spPr>
      </p:pic>
      <p:sp>
        <p:nvSpPr>
          <p:cNvPr id="1696" name="TextBox 1695"/>
          <p:cNvSpPr txBox="1"/>
          <p:nvPr/>
        </p:nvSpPr>
        <p:spPr>
          <a:xfrm>
            <a:off x="22860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oula </a:t>
            </a:r>
            <a:br/>
            <a:r>
              <a:t>Qassibi</a:t>
            </a:r>
            <a:br/>
            <a:r>
              <a:t>Data Analyst 1</a:t>
            </a:r>
          </a:p>
        </p:txBody>
      </p:sp>
      <p:sp>
        <p:nvSpPr>
          <p:cNvPr id="1697" name="TextBox 1696"/>
          <p:cNvSpPr txBox="1"/>
          <p:nvPr/>
        </p:nvSpPr>
        <p:spPr>
          <a:xfrm>
            <a:off x="22860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698" name="Picture 1697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68880" y="4023360"/>
            <a:ext cx="292608" cy="192505"/>
          </a:xfrm>
          <a:prstGeom prst="rect">
            <a:avLst/>
          </a:prstGeom>
        </p:spPr>
      </p:pic>
      <p:pic>
        <p:nvPicPr>
          <p:cNvPr id="1699" name="Picture 1698" descr="ipp_mohamed_amine_lahouani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00400" y="2743200"/>
            <a:ext cx="731520" cy="731520"/>
          </a:xfrm>
          <a:prstGeom prst="rect">
            <a:avLst/>
          </a:prstGeom>
        </p:spPr>
      </p:pic>
      <p:sp>
        <p:nvSpPr>
          <p:cNvPr id="1700" name="TextBox 1699"/>
          <p:cNvSpPr txBox="1"/>
          <p:nvPr/>
        </p:nvSpPr>
        <p:spPr>
          <a:xfrm>
            <a:off x="32004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Amine Lahouani</a:t>
            </a:r>
            <a:br/>
            <a:r>
              <a:t>Data</a:t>
            </a:r>
            <a:br/>
            <a:r>
              <a:t>Scientist - Senior 2</a:t>
            </a:r>
          </a:p>
        </p:txBody>
      </p:sp>
      <p:sp>
        <p:nvSpPr>
          <p:cNvPr id="1701" name="TextBox 1700"/>
          <p:cNvSpPr txBox="1"/>
          <p:nvPr/>
        </p:nvSpPr>
        <p:spPr>
          <a:xfrm>
            <a:off x="32004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2" name="Picture 1701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83280" y="4023360"/>
            <a:ext cx="292608" cy="192505"/>
          </a:xfrm>
          <a:prstGeom prst="rect">
            <a:avLst/>
          </a:prstGeom>
        </p:spPr>
      </p:pic>
      <p:pic>
        <p:nvPicPr>
          <p:cNvPr id="1703" name="Picture 1702" descr="ipp_youssef_moutaouakkil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14800" y="2743200"/>
            <a:ext cx="731520" cy="731520"/>
          </a:xfrm>
          <a:prstGeom prst="rect">
            <a:avLst/>
          </a:prstGeom>
        </p:spPr>
      </p:pic>
      <p:sp>
        <p:nvSpPr>
          <p:cNvPr id="1704" name="TextBox 1703"/>
          <p:cNvSpPr txBox="1"/>
          <p:nvPr/>
        </p:nvSpPr>
        <p:spPr>
          <a:xfrm>
            <a:off x="41148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Youssef </a:t>
            </a:r>
            <a:br/>
            <a:r>
              <a:t>Moutaouakkil</a:t>
            </a:r>
            <a:br/>
            <a:r>
              <a:t>Data</a:t>
            </a:r>
            <a:br/>
            <a:r>
              <a:t>Scientist 1</a:t>
            </a:r>
          </a:p>
        </p:txBody>
      </p:sp>
      <p:sp>
        <p:nvSpPr>
          <p:cNvPr id="1705" name="TextBox 1704"/>
          <p:cNvSpPr txBox="1"/>
          <p:nvPr/>
        </p:nvSpPr>
        <p:spPr>
          <a:xfrm>
            <a:off x="41148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1706" name="Picture 1705" descr="imag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7680" y="4023360"/>
            <a:ext cx="292608" cy="192505"/>
          </a:xfrm>
          <a:prstGeom prst="rect">
            <a:avLst/>
          </a:prstGeom>
        </p:spPr>
      </p:pic>
      <p:pic>
        <p:nvPicPr>
          <p:cNvPr id="1707" name="Picture 1706" descr="ipp_oludayo_oluwaseun_abass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029200" y="2743200"/>
            <a:ext cx="731520" cy="731520"/>
          </a:xfrm>
          <a:prstGeom prst="rect">
            <a:avLst/>
          </a:prstGeom>
        </p:spPr>
      </p:pic>
      <p:sp>
        <p:nvSpPr>
          <p:cNvPr id="1708" name="TextBox 1707"/>
          <p:cNvSpPr txBox="1"/>
          <p:nvPr/>
        </p:nvSpPr>
        <p:spPr>
          <a:xfrm>
            <a:off x="5029200" y="32308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ludayo </a:t>
            </a:r>
            <a:br/>
            <a:r>
              <a:t>Oluwaseun Abass</a:t>
            </a:r>
            <a:br/>
            <a:r>
              <a:t>Data</a:t>
            </a:r>
            <a:br/>
            <a:r>
              <a:t>Scientist - Senior 1</a:t>
            </a:r>
          </a:p>
        </p:txBody>
      </p:sp>
      <p:sp>
        <p:nvSpPr>
          <p:cNvPr id="1709" name="TextBox 1708"/>
          <p:cNvSpPr txBox="1"/>
          <p:nvPr/>
        </p:nvSpPr>
        <p:spPr>
          <a:xfrm>
            <a:off x="5029200" y="30480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emote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Google Shape;350;p3" descr="A picture containing bed, man, white, ca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28"/>
            <a:ext cx="3478534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351" name="Google Shape;351;p3"/>
          <p:cNvSpPr/>
          <p:nvPr/>
        </p:nvSpPr>
        <p:spPr>
          <a:xfrm>
            <a:off x="0" y="-1"/>
            <a:ext cx="3478533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" name="Google Shape;352;p3"/>
          <p:cNvSpPr/>
          <p:nvPr/>
        </p:nvSpPr>
        <p:spPr>
          <a:xfrm>
            <a:off x="3795450" y="1606635"/>
            <a:ext cx="2050990" cy="111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7" marR="0" lvl="1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Research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aphic Desig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Transl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Analytic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3"/>
          <p:cNvSpPr/>
          <p:nvPr/>
        </p:nvSpPr>
        <p:spPr>
          <a:xfrm>
            <a:off x="10155764" y="1606635"/>
            <a:ext cx="1485071" cy="1423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uman Capit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rmation Technolo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rations 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 Admin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keting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" name="Google Shape;354;p3"/>
          <p:cNvSpPr txBox="1"/>
          <p:nvPr/>
        </p:nvSpPr>
        <p:spPr>
          <a:xfrm>
            <a:off x="12062097" y="1179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55" name="Google Shape;355;p3"/>
          <p:cNvGrpSpPr/>
          <p:nvPr/>
        </p:nvGrpSpPr>
        <p:grpSpPr>
          <a:xfrm>
            <a:off x="5916000" y="1485340"/>
            <a:ext cx="4023265" cy="3766024"/>
            <a:chOff x="6838838" y="2506636"/>
            <a:chExt cx="3580348" cy="3351426"/>
          </a:xfrm>
        </p:grpSpPr>
        <p:sp>
          <p:nvSpPr>
            <p:cNvPr id="356" name="Google Shape;356;p3"/>
            <p:cNvSpPr/>
            <p:nvPr/>
          </p:nvSpPr>
          <p:spPr>
            <a:xfrm rot="10800000">
              <a:off x="8628979" y="2506918"/>
              <a:ext cx="1790207" cy="1875438"/>
            </a:xfrm>
            <a:custGeom>
              <a:avLst/>
              <a:gdLst/>
              <a:ahLst/>
              <a:cxnLst/>
              <a:rect l="l" t="t" r="r" b="b"/>
              <a:pathLst>
                <a:path w="1969988" h="2063779" extrusionOk="0">
                  <a:moveTo>
                    <a:pt x="1969933" y="600391"/>
                  </a:moveTo>
                  <a:cubicBezTo>
                    <a:pt x="1943198" y="542426"/>
                    <a:pt x="1911292" y="487320"/>
                    <a:pt x="1874765" y="435789"/>
                  </a:cubicBezTo>
                  <a:cubicBezTo>
                    <a:pt x="1705057" y="196446"/>
                    <a:pt x="1435834" y="32613"/>
                    <a:pt x="1127444" y="4400"/>
                  </a:cubicBezTo>
                  <a:cubicBezTo>
                    <a:pt x="1096088" y="1540"/>
                    <a:pt x="1064292" y="0"/>
                    <a:pt x="1032166" y="0"/>
                  </a:cubicBezTo>
                  <a:cubicBezTo>
                    <a:pt x="462145" y="0"/>
                    <a:pt x="0" y="461966"/>
                    <a:pt x="0" y="1031890"/>
                  </a:cubicBezTo>
                  <a:cubicBezTo>
                    <a:pt x="0" y="1601758"/>
                    <a:pt x="462090" y="2063780"/>
                    <a:pt x="1032166" y="2063780"/>
                  </a:cubicBezTo>
                  <a:cubicBezTo>
                    <a:pt x="1448102" y="2063780"/>
                    <a:pt x="1806552" y="1817783"/>
                    <a:pt x="1969988" y="1463333"/>
                  </a:cubicBezTo>
                  <a:cubicBezTo>
                    <a:pt x="1840108" y="1182139"/>
                    <a:pt x="1847424" y="867067"/>
                    <a:pt x="1969933" y="600391"/>
                  </a:cubicBezTo>
                  <a:close/>
                </a:path>
              </a:pathLst>
            </a:custGeom>
            <a:solidFill>
              <a:srgbClr val="66D5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3"/>
            <p:cNvSpPr/>
            <p:nvPr/>
          </p:nvSpPr>
          <p:spPr>
            <a:xfrm rot="10800000">
              <a:off x="8663923" y="2572539"/>
              <a:ext cx="1689625" cy="1744098"/>
            </a:xfrm>
            <a:custGeom>
              <a:avLst/>
              <a:gdLst/>
              <a:ahLst/>
              <a:cxnLst/>
              <a:rect l="l" t="t" r="r" b="b"/>
              <a:pathLst>
                <a:path w="1859306" h="1919249" extrusionOk="0">
                  <a:moveTo>
                    <a:pt x="1859307" y="624094"/>
                  </a:moveTo>
                  <a:cubicBezTo>
                    <a:pt x="1723210" y="259636"/>
                    <a:pt x="1371912" y="0"/>
                    <a:pt x="959882" y="0"/>
                  </a:cubicBezTo>
                  <a:cubicBezTo>
                    <a:pt x="429744" y="0"/>
                    <a:pt x="0" y="429629"/>
                    <a:pt x="0" y="959625"/>
                  </a:cubicBezTo>
                  <a:cubicBezTo>
                    <a:pt x="0" y="1489621"/>
                    <a:pt x="429744" y="1919250"/>
                    <a:pt x="959882" y="1919250"/>
                  </a:cubicBezTo>
                  <a:cubicBezTo>
                    <a:pt x="1371912" y="1919250"/>
                    <a:pt x="1723155" y="1659669"/>
                    <a:pt x="1859307" y="1295266"/>
                  </a:cubicBezTo>
                  <a:cubicBezTo>
                    <a:pt x="1782732" y="1073687"/>
                    <a:pt x="1786087" y="837424"/>
                    <a:pt x="1859307" y="624094"/>
                  </a:cubicBezTo>
                  <a:close/>
                </a:path>
              </a:pathLst>
            </a:custGeom>
            <a:gradFill>
              <a:gsLst>
                <a:gs pos="0">
                  <a:srgbClr val="CCF1FF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3"/>
            <p:cNvSpPr/>
            <p:nvPr/>
          </p:nvSpPr>
          <p:spPr>
            <a:xfrm rot="10800000">
              <a:off x="6838838" y="2506636"/>
              <a:ext cx="1876150" cy="1875729"/>
            </a:xfrm>
            <a:custGeom>
              <a:avLst/>
              <a:gdLst/>
              <a:ahLst/>
              <a:cxnLst/>
              <a:rect l="l" t="t" r="r" b="b"/>
              <a:pathLst>
                <a:path w="2064561" h="2064099" extrusionOk="0">
                  <a:moveTo>
                    <a:pt x="1926116" y="516036"/>
                  </a:moveTo>
                  <a:cubicBezTo>
                    <a:pt x="1718176" y="155977"/>
                    <a:pt x="1325950" y="-31339"/>
                    <a:pt x="937354" y="4298"/>
                  </a:cubicBezTo>
                  <a:cubicBezTo>
                    <a:pt x="853903" y="122430"/>
                    <a:pt x="744156" y="224832"/>
                    <a:pt x="610646" y="301937"/>
                  </a:cubicBezTo>
                  <a:cubicBezTo>
                    <a:pt x="477135" y="378986"/>
                    <a:pt x="333556" y="422763"/>
                    <a:pt x="189483" y="436017"/>
                  </a:cubicBezTo>
                  <a:cubicBezTo>
                    <a:pt x="152682" y="488043"/>
                    <a:pt x="120995" y="543149"/>
                    <a:pt x="94645" y="600510"/>
                  </a:cubicBezTo>
                  <a:cubicBezTo>
                    <a:pt x="-27864" y="867185"/>
                    <a:pt x="-35180" y="1182202"/>
                    <a:pt x="94645" y="1463397"/>
                  </a:cubicBezTo>
                  <a:cubicBezTo>
                    <a:pt x="107848" y="1491940"/>
                    <a:pt x="122371" y="1520208"/>
                    <a:pt x="138379" y="1547981"/>
                  </a:cubicBezTo>
                  <a:cubicBezTo>
                    <a:pt x="423389" y="2041515"/>
                    <a:pt x="1054637" y="2210627"/>
                    <a:pt x="1548358" y="1925693"/>
                  </a:cubicBezTo>
                  <a:cubicBezTo>
                    <a:pt x="2041969" y="1640649"/>
                    <a:pt x="2211127" y="1009570"/>
                    <a:pt x="1926116" y="5160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3"/>
            <p:cNvSpPr/>
            <p:nvPr/>
          </p:nvSpPr>
          <p:spPr>
            <a:xfrm rot="10800000">
              <a:off x="6904509" y="2572339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905916" y="0"/>
                    <a:pt x="852886" y="4730"/>
                    <a:pt x="801176" y="13309"/>
                  </a:cubicBezTo>
                  <a:cubicBezTo>
                    <a:pt x="728122" y="97288"/>
                    <a:pt x="640215" y="170873"/>
                    <a:pt x="538390" y="229663"/>
                  </a:cubicBezTo>
                  <a:cubicBezTo>
                    <a:pt x="436510" y="288454"/>
                    <a:pt x="328744" y="327831"/>
                    <a:pt x="219383" y="349115"/>
                  </a:cubicBezTo>
                  <a:cubicBezTo>
                    <a:pt x="82351" y="515038"/>
                    <a:pt x="0" y="727817"/>
                    <a:pt x="0" y="959790"/>
                  </a:cubicBezTo>
                  <a:cubicBezTo>
                    <a:pt x="0" y="1489842"/>
                    <a:pt x="429799" y="1919580"/>
                    <a:pt x="960047" y="1919580"/>
                  </a:cubicBezTo>
                  <a:cubicBezTo>
                    <a:pt x="1490295" y="1919580"/>
                    <a:pt x="1920093" y="1489897"/>
                    <a:pt x="1920093" y="959790"/>
                  </a:cubicBezTo>
                  <a:cubicBezTo>
                    <a:pt x="1920093" y="429684"/>
                    <a:pt x="1490240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F2F2F2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3"/>
            <p:cNvSpPr/>
            <p:nvPr/>
          </p:nvSpPr>
          <p:spPr>
            <a:xfrm rot="10800000">
              <a:off x="7691020" y="3982296"/>
              <a:ext cx="1876212" cy="1875766"/>
            </a:xfrm>
            <a:custGeom>
              <a:avLst/>
              <a:gdLst/>
              <a:ahLst/>
              <a:cxnLst/>
              <a:rect l="l" t="t" r="r" b="b"/>
              <a:pathLst>
                <a:path w="2064631" h="2064139" extrusionOk="0">
                  <a:moveTo>
                    <a:pt x="937254" y="2059692"/>
                  </a:moveTo>
                  <a:cubicBezTo>
                    <a:pt x="1000131" y="2065576"/>
                    <a:pt x="1063779" y="2065631"/>
                    <a:pt x="1127261" y="2059802"/>
                  </a:cubicBezTo>
                  <a:cubicBezTo>
                    <a:pt x="1271334" y="2046603"/>
                    <a:pt x="1414912" y="2002826"/>
                    <a:pt x="1548423" y="1925722"/>
                  </a:cubicBezTo>
                  <a:cubicBezTo>
                    <a:pt x="1681934" y="1848672"/>
                    <a:pt x="1791680" y="1746215"/>
                    <a:pt x="1875132" y="1628083"/>
                  </a:cubicBezTo>
                  <a:cubicBezTo>
                    <a:pt x="2100291" y="1309437"/>
                    <a:pt x="2134122" y="876178"/>
                    <a:pt x="1926237" y="516119"/>
                  </a:cubicBezTo>
                  <a:cubicBezTo>
                    <a:pt x="1641226" y="22585"/>
                    <a:pt x="1009978" y="-146527"/>
                    <a:pt x="516257" y="138407"/>
                  </a:cubicBezTo>
                  <a:cubicBezTo>
                    <a:pt x="22591" y="423341"/>
                    <a:pt x="-146567" y="1054420"/>
                    <a:pt x="138444" y="1548009"/>
                  </a:cubicBezTo>
                  <a:cubicBezTo>
                    <a:pt x="154507" y="1575782"/>
                    <a:pt x="171725" y="1602510"/>
                    <a:pt x="189879" y="1628193"/>
                  </a:cubicBezTo>
                  <a:cubicBezTo>
                    <a:pt x="498324" y="1656516"/>
                    <a:pt x="767491" y="1820349"/>
                    <a:pt x="937254" y="20596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"/>
            <p:cNvSpPr/>
            <p:nvPr/>
          </p:nvSpPr>
          <p:spPr>
            <a:xfrm rot="10800000">
              <a:off x="7756697" y="4047911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429854" y="0"/>
                    <a:pt x="0" y="429684"/>
                    <a:pt x="0" y="959790"/>
                  </a:cubicBezTo>
                  <a:cubicBezTo>
                    <a:pt x="0" y="1191818"/>
                    <a:pt x="82351" y="1404598"/>
                    <a:pt x="219438" y="1570520"/>
                  </a:cubicBezTo>
                  <a:cubicBezTo>
                    <a:pt x="449823" y="1615067"/>
                    <a:pt x="652867" y="1736113"/>
                    <a:pt x="801011" y="1906216"/>
                  </a:cubicBezTo>
                  <a:cubicBezTo>
                    <a:pt x="852776" y="1914850"/>
                    <a:pt x="905861" y="1919580"/>
                    <a:pt x="960047" y="1919580"/>
                  </a:cubicBezTo>
                  <a:cubicBezTo>
                    <a:pt x="1490240" y="1919580"/>
                    <a:pt x="1920093" y="1489841"/>
                    <a:pt x="1920093" y="959790"/>
                  </a:cubicBezTo>
                  <a:cubicBezTo>
                    <a:pt x="1920093" y="429739"/>
                    <a:pt x="1490295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CDD9FC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3"/>
            <p:cNvSpPr/>
            <p:nvPr/>
          </p:nvSpPr>
          <p:spPr>
            <a:xfrm>
              <a:off x="8074552" y="4631918"/>
              <a:ext cx="1147843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usiness </a:t>
              </a:r>
              <a:b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velopment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3" name="Google Shape;363;p3"/>
            <p:cNvSpPr/>
            <p:nvPr/>
          </p:nvSpPr>
          <p:spPr>
            <a:xfrm>
              <a:off x="9185819" y="3155079"/>
              <a:ext cx="609528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ervice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4" name="Google Shape;364;p3"/>
            <p:cNvSpPr/>
            <p:nvPr/>
          </p:nvSpPr>
          <p:spPr>
            <a:xfrm>
              <a:off x="7182745" y="3155079"/>
              <a:ext cx="1209697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livery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usiness Lines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5" name="Google Shape;365;p3"/>
            <p:cNvSpPr txBox="1"/>
            <p:nvPr/>
          </p:nvSpPr>
          <p:spPr>
            <a:xfrm>
              <a:off x="9869320" y="5262646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6" name="Google Shape;366;p3"/>
          <p:cNvSpPr/>
          <p:nvPr/>
        </p:nvSpPr>
        <p:spPr>
          <a:xfrm>
            <a:off x="7129001" y="5441499"/>
            <a:ext cx="1931698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7" marR="0" lvl="1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Development (sale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7" name="Google Shape;367;p3"/>
          <p:cNvSpPr txBox="1"/>
          <p:nvPr/>
        </p:nvSpPr>
        <p:spPr>
          <a:xfrm>
            <a:off x="533402" y="2514600"/>
            <a:ext cx="2945132" cy="1772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fr-FR" sz="32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Infomineo teams are split into different service lin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8" name="Google Shape;368;p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3</a:t>
            </a:fld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2BB6A31-2198-3BDE-703D-309C1D36C7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19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3" name="Google Shape;373;p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553608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Development Team</a:t>
            </a:r>
            <a:endParaRPr/>
          </a:p>
        </p:txBody>
      </p:sp>
      <p:sp>
        <p:nvSpPr>
          <p:cNvPr id="374" name="Google Shape;374;p6"/>
          <p:cNvSpPr/>
          <p:nvPr/>
        </p:nvSpPr>
        <p:spPr>
          <a:xfrm>
            <a:off x="8534433" y="1389482"/>
            <a:ext cx="33093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business opportunitie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" name="Google Shape;378;p6"/>
          <p:cNvSpPr/>
          <p:nvPr/>
        </p:nvSpPr>
        <p:spPr>
          <a:xfrm>
            <a:off x="8534433" y="1913239"/>
            <a:ext cx="3309300" cy="83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pping key stakeholders &amp; defining the appropriate action pla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9" name="Google Shape;379;p6"/>
          <p:cNvSpPr/>
          <p:nvPr/>
        </p:nvSpPr>
        <p:spPr>
          <a:xfrm>
            <a:off x="8534433" y="2924307"/>
            <a:ext cx="33093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ordinating proposals and contracting process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0" name="Google Shape;380;p6"/>
          <p:cNvSpPr/>
          <p:nvPr/>
        </p:nvSpPr>
        <p:spPr>
          <a:xfrm>
            <a:off x="8534433" y="3725063"/>
            <a:ext cx="33093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intaining an updated C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1" name="Google Shape;381;p6"/>
          <p:cNvSpPr/>
          <p:nvPr/>
        </p:nvSpPr>
        <p:spPr>
          <a:xfrm>
            <a:off x="8534433" y="4248820"/>
            <a:ext cx="33093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clients with necessary collater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6"/>
          <p:cNvSpPr/>
          <p:nvPr/>
        </p:nvSpPr>
        <p:spPr>
          <a:xfrm>
            <a:off x="8534432" y="5049574"/>
            <a:ext cx="3480982" cy="55399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ing an Account Management &amp; planning for each key accou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83" name="Google Shape;383;p6"/>
          <p:cNvCxnSpPr/>
          <p:nvPr/>
        </p:nvCxnSpPr>
        <p:spPr>
          <a:xfrm>
            <a:off x="685800" y="1181992"/>
            <a:ext cx="57798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384" name="Google Shape;384;p6"/>
          <p:cNvCxnSpPr/>
          <p:nvPr/>
        </p:nvCxnSpPr>
        <p:spPr>
          <a:xfrm>
            <a:off x="7373788" y="1181992"/>
            <a:ext cx="44751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385" name="Google Shape;385;p6"/>
          <p:cNvSpPr/>
          <p:nvPr/>
        </p:nvSpPr>
        <p:spPr>
          <a:xfrm>
            <a:off x="8733562" y="1043493"/>
            <a:ext cx="17556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6" name="Google Shape;386;p6"/>
          <p:cNvSpPr/>
          <p:nvPr/>
        </p:nvSpPr>
        <p:spPr>
          <a:xfrm>
            <a:off x="2772034" y="1009347"/>
            <a:ext cx="14547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are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87" name="Google Shape;387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1402336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88" name="Google Shape;388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1929278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89" name="Google Shape;389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2937753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0" name="Google Shape;390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3735916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" name="Google Shape;391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4262859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2" name="Google Shape;392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5076520"/>
            <a:ext cx="259969" cy="259969"/>
          </a:xfrm>
          <a:prstGeom prst="rect">
            <a:avLst/>
          </a:prstGeom>
          <a:noFill/>
          <a:ln>
            <a:noFill/>
          </a:ln>
        </p:spPr>
      </p:pic>
      <p:sp>
        <p:nvSpPr>
          <p:cNvPr id="395" name="Google Shape;395;p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4</a:t>
            </a:fld>
            <a:endParaRPr/>
          </a:p>
        </p:txBody>
      </p:sp>
      <p:sp>
        <p:nvSpPr>
          <p:cNvPr id="419" name="Google Shape;419;p6"/>
          <p:cNvSpPr txBox="1"/>
          <p:nvPr/>
        </p:nvSpPr>
        <p:spPr>
          <a:xfrm>
            <a:off x="171095" y="2413373"/>
            <a:ext cx="15897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0" name="Google Shape;420;p6"/>
          <p:cNvCxnSpPr/>
          <p:nvPr/>
        </p:nvCxnSpPr>
        <p:spPr>
          <a:xfrm>
            <a:off x="1660083" y="2521594"/>
            <a:ext cx="1839301" cy="15596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1" name="Google Shape;421;p6"/>
          <p:cNvSpPr txBox="1"/>
          <p:nvPr/>
        </p:nvSpPr>
        <p:spPr>
          <a:xfrm>
            <a:off x="4497320" y="2403017"/>
            <a:ext cx="1589623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2" name="Google Shape;422;p6"/>
          <p:cNvCxnSpPr/>
          <p:nvPr/>
        </p:nvCxnSpPr>
        <p:spPr>
          <a:xfrm>
            <a:off x="5709737" y="2495350"/>
            <a:ext cx="2067376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3" name="Google Shape;423;p6"/>
          <p:cNvSpPr txBox="1"/>
          <p:nvPr/>
        </p:nvSpPr>
        <p:spPr>
          <a:xfrm>
            <a:off x="171095" y="3848428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ssociate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4" name="Google Shape;424;p6"/>
          <p:cNvCxnSpPr/>
          <p:nvPr/>
        </p:nvCxnSpPr>
        <p:spPr>
          <a:xfrm>
            <a:off x="1895243" y="3952806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5" name="Google Shape;425;p6"/>
          <p:cNvSpPr txBox="1"/>
          <p:nvPr/>
        </p:nvSpPr>
        <p:spPr>
          <a:xfrm>
            <a:off x="171094" y="5418906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Account Execu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6" name="Google Shape;426;p6"/>
          <p:cNvCxnSpPr/>
          <p:nvPr/>
        </p:nvCxnSpPr>
        <p:spPr>
          <a:xfrm>
            <a:off x="1972138" y="5519503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7" name="Google Shape;427;p6"/>
          <p:cNvSpPr txBox="1"/>
          <p:nvPr/>
        </p:nvSpPr>
        <p:spPr>
          <a:xfrm>
            <a:off x="4516931" y="5418906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ccount Execu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8" name="Google Shape;428;p6"/>
          <p:cNvCxnSpPr/>
          <p:nvPr/>
        </p:nvCxnSpPr>
        <p:spPr>
          <a:xfrm>
            <a:off x="5849414" y="5527323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9" name="Google Shape;429;p6"/>
          <p:cNvSpPr txBox="1"/>
          <p:nvPr/>
        </p:nvSpPr>
        <p:spPr>
          <a:xfrm>
            <a:off x="5643079" y="3935894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D Lea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30" name="Google Shape;430;p6"/>
          <p:cNvCxnSpPr/>
          <p:nvPr/>
        </p:nvCxnSpPr>
        <p:spPr>
          <a:xfrm rot="10800000" flipH="1">
            <a:off x="6414734" y="4029335"/>
            <a:ext cx="1057145" cy="3759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431" name="Picture 430" descr="ipp_matteo_gamberale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7600" y="1371600"/>
            <a:ext cx="640080" cy="640080"/>
          </a:xfrm>
          <a:prstGeom prst="rect">
            <a:avLst/>
          </a:prstGeom>
        </p:spPr>
      </p:pic>
      <p:sp>
        <p:nvSpPr>
          <p:cNvPr id="432" name="TextBox 431"/>
          <p:cNvSpPr txBox="1"/>
          <p:nvPr/>
        </p:nvSpPr>
        <p:spPr>
          <a:xfrm>
            <a:off x="3657600" y="17983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atteo </a:t>
            </a:r>
            <a:br/>
            <a:r>
              <a:t>Gamberale</a:t>
            </a:r>
            <a:br/>
            <a:r>
              <a:t>Chief</a:t>
            </a:r>
            <a:br/>
            <a:r>
              <a:t>Growth Officer</a:t>
            </a:r>
          </a:p>
        </p:txBody>
      </p:sp>
      <p:sp>
        <p:nvSpPr>
          <p:cNvPr id="433" name="TextBox 432"/>
          <p:cNvSpPr txBox="1"/>
          <p:nvPr/>
        </p:nvSpPr>
        <p:spPr>
          <a:xfrm>
            <a:off x="3657600" y="1676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34" name="Picture 433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17620" y="2651760"/>
            <a:ext cx="256032" cy="168442"/>
          </a:xfrm>
          <a:prstGeom prst="rect">
            <a:avLst/>
          </a:prstGeom>
        </p:spPr>
      </p:pic>
      <p:pic>
        <p:nvPicPr>
          <p:cNvPr id="435" name="Picture 434" descr="ipp_dmitry_linkov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" y="2743200"/>
            <a:ext cx="640080" cy="640080"/>
          </a:xfrm>
          <a:prstGeom prst="rect">
            <a:avLst/>
          </a:prstGeom>
        </p:spPr>
      </p:pic>
      <p:sp>
        <p:nvSpPr>
          <p:cNvPr id="436" name="TextBox 435"/>
          <p:cNvSpPr txBox="1"/>
          <p:nvPr/>
        </p:nvSpPr>
        <p:spPr>
          <a:xfrm>
            <a:off x="45720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Dmitry </a:t>
            </a:r>
            <a:br/>
            <a:r>
              <a:t>Linkov</a:t>
            </a:r>
          </a:p>
        </p:txBody>
      </p:sp>
      <p:sp>
        <p:nvSpPr>
          <p:cNvPr id="437" name="TextBox 436"/>
          <p:cNvSpPr txBox="1"/>
          <p:nvPr/>
        </p:nvSpPr>
        <p:spPr>
          <a:xfrm>
            <a:off x="45720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38" name="Picture 437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220" y="3657600"/>
            <a:ext cx="256032" cy="168442"/>
          </a:xfrm>
          <a:prstGeom prst="rect">
            <a:avLst/>
          </a:prstGeom>
        </p:spPr>
      </p:pic>
      <p:pic>
        <p:nvPicPr>
          <p:cNvPr id="439" name="Picture 438" descr="ipp_keith_vann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71600" y="2743200"/>
            <a:ext cx="640080" cy="640080"/>
          </a:xfrm>
          <a:prstGeom prst="rect">
            <a:avLst/>
          </a:prstGeom>
        </p:spPr>
      </p:pic>
      <p:sp>
        <p:nvSpPr>
          <p:cNvPr id="440" name="TextBox 439"/>
          <p:cNvSpPr txBox="1"/>
          <p:nvPr/>
        </p:nvSpPr>
        <p:spPr>
          <a:xfrm>
            <a:off x="137160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Keith </a:t>
            </a:r>
            <a:br/>
            <a:r>
              <a:t>Vann</a:t>
            </a:r>
          </a:p>
        </p:txBody>
      </p:sp>
      <p:sp>
        <p:nvSpPr>
          <p:cNvPr id="441" name="TextBox 440"/>
          <p:cNvSpPr txBox="1"/>
          <p:nvPr/>
        </p:nvSpPr>
        <p:spPr>
          <a:xfrm>
            <a:off x="137160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42" name="Picture 441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620" y="3657600"/>
            <a:ext cx="256032" cy="168442"/>
          </a:xfrm>
          <a:prstGeom prst="rect">
            <a:avLst/>
          </a:prstGeom>
        </p:spPr>
      </p:pic>
      <p:pic>
        <p:nvPicPr>
          <p:cNvPr id="443" name="Picture 442" descr="ipp_clarissa_confort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40480" y="2743200"/>
            <a:ext cx="640080" cy="640080"/>
          </a:xfrm>
          <a:prstGeom prst="rect">
            <a:avLst/>
          </a:prstGeom>
        </p:spPr>
      </p:pic>
      <p:sp>
        <p:nvSpPr>
          <p:cNvPr id="444" name="TextBox 443"/>
          <p:cNvSpPr txBox="1"/>
          <p:nvPr/>
        </p:nvSpPr>
        <p:spPr>
          <a:xfrm>
            <a:off x="384048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Clarissa </a:t>
            </a:r>
            <a:br/>
            <a:r>
              <a:t>Confort</a:t>
            </a:r>
          </a:p>
        </p:txBody>
      </p:sp>
      <p:sp>
        <p:nvSpPr>
          <p:cNvPr id="445" name="TextBox 444"/>
          <p:cNvSpPr txBox="1"/>
          <p:nvPr/>
        </p:nvSpPr>
        <p:spPr>
          <a:xfrm>
            <a:off x="384048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46" name="Picture 445" descr="Mexico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00500" y="3657600"/>
            <a:ext cx="256032" cy="168442"/>
          </a:xfrm>
          <a:prstGeom prst="rect">
            <a:avLst/>
          </a:prstGeom>
        </p:spPr>
      </p:pic>
      <p:pic>
        <p:nvPicPr>
          <p:cNvPr id="447" name="Picture 446" descr="ipp_ines_benincasa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54880" y="2743200"/>
            <a:ext cx="640080" cy="640080"/>
          </a:xfrm>
          <a:prstGeom prst="rect">
            <a:avLst/>
          </a:prstGeom>
        </p:spPr>
      </p:pic>
      <p:sp>
        <p:nvSpPr>
          <p:cNvPr id="448" name="TextBox 447"/>
          <p:cNvSpPr txBox="1"/>
          <p:nvPr/>
        </p:nvSpPr>
        <p:spPr>
          <a:xfrm>
            <a:off x="475488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Ines </a:t>
            </a:r>
            <a:br/>
            <a:r>
              <a:t>Benincasa</a:t>
            </a:r>
          </a:p>
        </p:txBody>
      </p:sp>
      <p:sp>
        <p:nvSpPr>
          <p:cNvPr id="449" name="TextBox 448"/>
          <p:cNvSpPr txBox="1"/>
          <p:nvPr/>
        </p:nvSpPr>
        <p:spPr>
          <a:xfrm>
            <a:off x="475488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50" name="Picture 449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14900" y="3657600"/>
            <a:ext cx="256032" cy="168442"/>
          </a:xfrm>
          <a:prstGeom prst="rect">
            <a:avLst/>
          </a:prstGeom>
        </p:spPr>
      </p:pic>
      <p:pic>
        <p:nvPicPr>
          <p:cNvPr id="451" name="Picture 450" descr="ipp_noran_el_atawi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669280" y="2743200"/>
            <a:ext cx="640080" cy="640080"/>
          </a:xfrm>
          <a:prstGeom prst="rect">
            <a:avLst/>
          </a:prstGeom>
        </p:spPr>
      </p:pic>
      <p:sp>
        <p:nvSpPr>
          <p:cNvPr id="452" name="TextBox 451"/>
          <p:cNvSpPr txBox="1"/>
          <p:nvPr/>
        </p:nvSpPr>
        <p:spPr>
          <a:xfrm>
            <a:off x="5669280" y="31699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Noran El </a:t>
            </a:r>
            <a:br/>
            <a:r>
              <a:t>Atawi</a:t>
            </a:r>
          </a:p>
        </p:txBody>
      </p:sp>
      <p:sp>
        <p:nvSpPr>
          <p:cNvPr id="453" name="TextBox 452"/>
          <p:cNvSpPr txBox="1"/>
          <p:nvPr/>
        </p:nvSpPr>
        <p:spPr>
          <a:xfrm>
            <a:off x="5669280" y="3048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54" name="Picture 453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29300" y="3657600"/>
            <a:ext cx="256032" cy="168442"/>
          </a:xfrm>
          <a:prstGeom prst="rect">
            <a:avLst/>
          </a:prstGeom>
        </p:spPr>
      </p:pic>
      <p:pic>
        <p:nvPicPr>
          <p:cNvPr id="455" name="Picture 454" descr="ipp_saad_iben_brahim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" y="4297680"/>
            <a:ext cx="640080" cy="640080"/>
          </a:xfrm>
          <a:prstGeom prst="rect">
            <a:avLst/>
          </a:prstGeom>
        </p:spPr>
      </p:pic>
      <p:sp>
        <p:nvSpPr>
          <p:cNvPr id="456" name="TextBox 455"/>
          <p:cNvSpPr txBox="1"/>
          <p:nvPr/>
        </p:nvSpPr>
        <p:spPr>
          <a:xfrm>
            <a:off x="457200" y="4724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aad Iben </a:t>
            </a:r>
            <a:br/>
            <a:r>
              <a:t>Brahim</a:t>
            </a:r>
          </a:p>
        </p:txBody>
      </p:sp>
      <p:sp>
        <p:nvSpPr>
          <p:cNvPr id="457" name="TextBox 456"/>
          <p:cNvSpPr txBox="1"/>
          <p:nvPr/>
        </p:nvSpPr>
        <p:spPr>
          <a:xfrm>
            <a:off x="457200" y="4602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58" name="Picture 457" descr="image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17220" y="5212080"/>
            <a:ext cx="256032" cy="168442"/>
          </a:xfrm>
          <a:prstGeom prst="rect">
            <a:avLst/>
          </a:prstGeom>
        </p:spPr>
      </p:pic>
      <p:pic>
        <p:nvPicPr>
          <p:cNvPr id="459" name="Picture 458" descr="ipp_nada_benslimane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371600" y="4297680"/>
            <a:ext cx="640080" cy="640080"/>
          </a:xfrm>
          <a:prstGeom prst="rect">
            <a:avLst/>
          </a:prstGeom>
        </p:spPr>
      </p:pic>
      <p:sp>
        <p:nvSpPr>
          <p:cNvPr id="460" name="TextBox 459"/>
          <p:cNvSpPr txBox="1"/>
          <p:nvPr/>
        </p:nvSpPr>
        <p:spPr>
          <a:xfrm>
            <a:off x="1371600" y="47244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Nada </a:t>
            </a:r>
            <a:br/>
            <a:r>
              <a:t>Benslimane</a:t>
            </a:r>
          </a:p>
        </p:txBody>
      </p:sp>
      <p:sp>
        <p:nvSpPr>
          <p:cNvPr id="461" name="TextBox 460"/>
          <p:cNvSpPr txBox="1"/>
          <p:nvPr/>
        </p:nvSpPr>
        <p:spPr>
          <a:xfrm>
            <a:off x="1371600" y="46024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62" name="Picture 461" descr="Spain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531620" y="5212080"/>
            <a:ext cx="256032" cy="168442"/>
          </a:xfrm>
          <a:prstGeom prst="rect">
            <a:avLst/>
          </a:prstGeom>
        </p:spPr>
      </p:pic>
      <p:pic>
        <p:nvPicPr>
          <p:cNvPr id="463" name="Picture 462" descr="ipp_mohanad_el_tantawy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72000" y="4114800"/>
            <a:ext cx="640080" cy="640080"/>
          </a:xfrm>
          <a:prstGeom prst="rect">
            <a:avLst/>
          </a:prstGeom>
        </p:spPr>
      </p:pic>
      <p:sp>
        <p:nvSpPr>
          <p:cNvPr id="464" name="TextBox 463"/>
          <p:cNvSpPr txBox="1"/>
          <p:nvPr/>
        </p:nvSpPr>
        <p:spPr>
          <a:xfrm>
            <a:off x="4572000" y="454152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Mohanad El </a:t>
            </a:r>
            <a:br/>
            <a:r>
              <a:t>Tantawy</a:t>
            </a:r>
          </a:p>
        </p:txBody>
      </p:sp>
      <p:sp>
        <p:nvSpPr>
          <p:cNvPr id="465" name="TextBox 464"/>
          <p:cNvSpPr txBox="1"/>
          <p:nvPr/>
        </p:nvSpPr>
        <p:spPr>
          <a:xfrm>
            <a:off x="4572000" y="4419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66" name="Picture 465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2020" y="5029200"/>
            <a:ext cx="256032" cy="168442"/>
          </a:xfrm>
          <a:prstGeom prst="rect">
            <a:avLst/>
          </a:prstGeom>
        </p:spPr>
      </p:pic>
      <p:pic>
        <p:nvPicPr>
          <p:cNvPr id="467" name="Picture 466" descr="ipp_oumaima_fennane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200" y="5669280"/>
            <a:ext cx="640080" cy="640080"/>
          </a:xfrm>
          <a:prstGeom prst="rect">
            <a:avLst/>
          </a:prstGeom>
        </p:spPr>
      </p:pic>
      <p:sp>
        <p:nvSpPr>
          <p:cNvPr id="468" name="TextBox 467"/>
          <p:cNvSpPr txBox="1"/>
          <p:nvPr/>
        </p:nvSpPr>
        <p:spPr>
          <a:xfrm>
            <a:off x="4572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Oumaima </a:t>
            </a:r>
            <a:br/>
            <a:r>
              <a:t>Fennane</a:t>
            </a:r>
          </a:p>
        </p:txBody>
      </p:sp>
      <p:sp>
        <p:nvSpPr>
          <p:cNvPr id="469" name="TextBox 468"/>
          <p:cNvSpPr txBox="1"/>
          <p:nvPr/>
        </p:nvSpPr>
        <p:spPr>
          <a:xfrm>
            <a:off x="4572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70" name="Picture 469" descr="Spain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7220" y="6583680"/>
            <a:ext cx="256032" cy="168442"/>
          </a:xfrm>
          <a:prstGeom prst="rect">
            <a:avLst/>
          </a:prstGeom>
        </p:spPr>
      </p:pic>
      <p:pic>
        <p:nvPicPr>
          <p:cNvPr id="471" name="Picture 470" descr="ipp_hossein_lakkis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71600" y="5669280"/>
            <a:ext cx="640080" cy="640080"/>
          </a:xfrm>
          <a:prstGeom prst="rect">
            <a:avLst/>
          </a:prstGeom>
        </p:spPr>
      </p:pic>
      <p:sp>
        <p:nvSpPr>
          <p:cNvPr id="472" name="TextBox 471"/>
          <p:cNvSpPr txBox="1"/>
          <p:nvPr/>
        </p:nvSpPr>
        <p:spPr>
          <a:xfrm>
            <a:off x="13716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ossein </a:t>
            </a:r>
            <a:br/>
            <a:r>
              <a:t>Lakkis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3716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74" name="Picture 473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620" y="6583680"/>
            <a:ext cx="256032" cy="168442"/>
          </a:xfrm>
          <a:prstGeom prst="rect">
            <a:avLst/>
          </a:prstGeom>
        </p:spPr>
      </p:pic>
      <p:pic>
        <p:nvPicPr>
          <p:cNvPr id="475" name="Picture 474" descr="ipp_othmane_boubkry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286000" y="5669280"/>
            <a:ext cx="640080" cy="640080"/>
          </a:xfrm>
          <a:prstGeom prst="rect">
            <a:avLst/>
          </a:prstGeom>
        </p:spPr>
      </p:pic>
      <p:sp>
        <p:nvSpPr>
          <p:cNvPr id="476" name="TextBox 475"/>
          <p:cNvSpPr txBox="1"/>
          <p:nvPr/>
        </p:nvSpPr>
        <p:spPr>
          <a:xfrm>
            <a:off x="22860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Othmane </a:t>
            </a:r>
            <a:br/>
            <a:r>
              <a:t>Boubkry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22860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78" name="Picture 477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6020" y="6583680"/>
            <a:ext cx="256032" cy="168442"/>
          </a:xfrm>
          <a:prstGeom prst="rect">
            <a:avLst/>
          </a:prstGeom>
        </p:spPr>
      </p:pic>
      <p:pic>
        <p:nvPicPr>
          <p:cNvPr id="479" name="Picture 478" descr="ipp_ramzi_chaaban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00400" y="5669280"/>
            <a:ext cx="640080" cy="640080"/>
          </a:xfrm>
          <a:prstGeom prst="rect">
            <a:avLst/>
          </a:prstGeom>
        </p:spPr>
      </p:pic>
      <p:sp>
        <p:nvSpPr>
          <p:cNvPr id="480" name="TextBox 479"/>
          <p:cNvSpPr txBox="1"/>
          <p:nvPr/>
        </p:nvSpPr>
        <p:spPr>
          <a:xfrm>
            <a:off x="32004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Ramzi </a:t>
            </a:r>
            <a:br/>
            <a:r>
              <a:t>Chaaban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32004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82" name="Picture 481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0420" y="6583680"/>
            <a:ext cx="256032" cy="168442"/>
          </a:xfrm>
          <a:prstGeom prst="rect">
            <a:avLst/>
          </a:prstGeom>
        </p:spPr>
      </p:pic>
      <p:pic>
        <p:nvPicPr>
          <p:cNvPr id="483" name="Picture 482" descr="ipp_daniel_orozco_ibazeta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572000" y="5669280"/>
            <a:ext cx="640080" cy="640080"/>
          </a:xfrm>
          <a:prstGeom prst="rect">
            <a:avLst/>
          </a:prstGeom>
        </p:spPr>
      </p:pic>
      <p:sp>
        <p:nvSpPr>
          <p:cNvPr id="484" name="TextBox 483"/>
          <p:cNvSpPr txBox="1"/>
          <p:nvPr/>
        </p:nvSpPr>
        <p:spPr>
          <a:xfrm>
            <a:off x="45720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Daniel </a:t>
            </a:r>
            <a:br/>
            <a:r>
              <a:t>Orozco Ibazeta</a:t>
            </a:r>
          </a:p>
        </p:txBody>
      </p:sp>
      <p:sp>
        <p:nvSpPr>
          <p:cNvPr id="485" name="TextBox 484"/>
          <p:cNvSpPr txBox="1"/>
          <p:nvPr/>
        </p:nvSpPr>
        <p:spPr>
          <a:xfrm>
            <a:off x="45720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86" name="Picture 485" descr="Mexico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32020" y="6583680"/>
            <a:ext cx="256032" cy="168442"/>
          </a:xfrm>
          <a:prstGeom prst="rect">
            <a:avLst/>
          </a:prstGeom>
        </p:spPr>
      </p:pic>
      <p:pic>
        <p:nvPicPr>
          <p:cNvPr id="487" name="Picture 486" descr="ipp_yasmine_benhalima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486400" y="5669280"/>
            <a:ext cx="640080" cy="640080"/>
          </a:xfrm>
          <a:prstGeom prst="rect">
            <a:avLst/>
          </a:prstGeom>
        </p:spPr>
      </p:pic>
      <p:sp>
        <p:nvSpPr>
          <p:cNvPr id="488" name="TextBox 487"/>
          <p:cNvSpPr txBox="1"/>
          <p:nvPr/>
        </p:nvSpPr>
        <p:spPr>
          <a:xfrm>
            <a:off x="5486400" y="60960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Yasmine </a:t>
            </a:r>
            <a:br/>
            <a:r>
              <a:t>Benhalima</a:t>
            </a:r>
          </a:p>
        </p:txBody>
      </p:sp>
      <p:sp>
        <p:nvSpPr>
          <p:cNvPr id="489" name="TextBox 488"/>
          <p:cNvSpPr txBox="1"/>
          <p:nvPr/>
        </p:nvSpPr>
        <p:spPr>
          <a:xfrm>
            <a:off x="5486400" y="597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490" name="Picture 489" descr="UA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46420" y="6583680"/>
            <a:ext cx="256032" cy="16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035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934E46-EC59-C345-CB04-E48D0C418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906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2" name="Google Shape;552;p8"/>
          <p:cNvSpPr/>
          <p:nvPr/>
        </p:nvSpPr>
        <p:spPr>
          <a:xfrm>
            <a:off x="550863" y="1993529"/>
            <a:ext cx="2651060" cy="1428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the company’s finan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 strategic recommenda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ecast, Budget and other repor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nsfer Pric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view vendor’s contrac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ravel expenses and PO polic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3" name="Google Shape;553;p8"/>
          <p:cNvSpPr/>
          <p:nvPr/>
        </p:nvSpPr>
        <p:spPr>
          <a:xfrm>
            <a:off x="6544413" y="1993529"/>
            <a:ext cx="2651060" cy="217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culate and process pay slip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all paym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voice the custom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 due diligence for suppli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and check bil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gal and tax compli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cial statem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dget controll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e travel expenses and PO polic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4" name="Google Shape;554;p8"/>
          <p:cNvSpPr/>
          <p:nvPr/>
        </p:nvSpPr>
        <p:spPr>
          <a:xfrm>
            <a:off x="550863" y="3965249"/>
            <a:ext cx="3502977" cy="1613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er contracting processes (incl. due diligenc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eaning &amp; controlling of BD C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lections, accounts receivabl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 reports and dashboards for BD tea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culate VP commiss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pport the local admin tasks for the Dubai company (e.g. Health insuranc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5" name="Google Shape;555;p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Finance Team</a:t>
            </a:r>
            <a:endParaRPr dirty="0"/>
          </a:p>
        </p:txBody>
      </p:sp>
      <p:sp>
        <p:nvSpPr>
          <p:cNvPr id="556" name="Google Shape;556;p8"/>
          <p:cNvSpPr txBox="1"/>
          <p:nvPr/>
        </p:nvSpPr>
        <p:spPr>
          <a:xfrm>
            <a:off x="550863" y="1530092"/>
            <a:ext cx="185538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Finance Strategic Topic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7" name="Google Shape;557;p8"/>
          <p:cNvCxnSpPr/>
          <p:nvPr/>
        </p:nvCxnSpPr>
        <p:spPr>
          <a:xfrm>
            <a:off x="2514178" y="1637814"/>
            <a:ext cx="3279061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58" name="Google Shape;558;p8"/>
          <p:cNvSpPr txBox="1"/>
          <p:nvPr/>
        </p:nvSpPr>
        <p:spPr>
          <a:xfrm>
            <a:off x="6544413" y="1530092"/>
            <a:ext cx="174368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Country Finance Topic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9" name="Google Shape;559;p8"/>
          <p:cNvCxnSpPr/>
          <p:nvPr/>
        </p:nvCxnSpPr>
        <p:spPr>
          <a:xfrm>
            <a:off x="8300948" y="1637814"/>
            <a:ext cx="3339887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60" name="Google Shape;560;p8"/>
          <p:cNvSpPr txBox="1"/>
          <p:nvPr/>
        </p:nvSpPr>
        <p:spPr>
          <a:xfrm>
            <a:off x="550863" y="3670118"/>
            <a:ext cx="360284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usiness Controller Topics, supporting BD team</a:t>
            </a:r>
            <a:endParaRPr sz="1400" b="1" i="0" u="none" strike="noStrike" cap="none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561" name="Google Shape;561;p8"/>
          <p:cNvCxnSpPr/>
          <p:nvPr/>
        </p:nvCxnSpPr>
        <p:spPr>
          <a:xfrm>
            <a:off x="4314548" y="3827535"/>
            <a:ext cx="147689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67" name="Google Shape;567;p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5</a:t>
            </a:fld>
            <a:endParaRPr/>
          </a:p>
        </p:txBody>
      </p:sp>
      <p:pic>
        <p:nvPicPr>
          <p:cNvPr id="568" name="Picture 567" descr="ipp_romain_benjamin_murigneux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7600" y="2011680"/>
            <a:ext cx="731520" cy="731520"/>
          </a:xfrm>
          <a:prstGeom prst="rect">
            <a:avLst/>
          </a:prstGeom>
        </p:spPr>
      </p:pic>
      <p:sp>
        <p:nvSpPr>
          <p:cNvPr id="569" name="TextBox 568"/>
          <p:cNvSpPr txBox="1"/>
          <p:nvPr/>
        </p:nvSpPr>
        <p:spPr>
          <a:xfrm>
            <a:off x="36576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Romain </a:t>
            </a:r>
            <a:br/>
            <a:r>
              <a:t>Benjamin Murigneux</a:t>
            </a:r>
            <a:br/>
            <a:r>
              <a:t>Finance</a:t>
            </a:r>
            <a:br/>
            <a:r>
              <a:t>Director</a:t>
            </a:r>
          </a:p>
        </p:txBody>
      </p:sp>
      <p:sp>
        <p:nvSpPr>
          <p:cNvPr id="570" name="TextBox 569"/>
          <p:cNvSpPr txBox="1"/>
          <p:nvPr/>
        </p:nvSpPr>
        <p:spPr>
          <a:xfrm>
            <a:off x="36576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71" name="Picture 570" descr="Spai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40480" y="3291840"/>
            <a:ext cx="292608" cy="192505"/>
          </a:xfrm>
          <a:prstGeom prst="rect">
            <a:avLst/>
          </a:prstGeom>
        </p:spPr>
      </p:pic>
      <p:pic>
        <p:nvPicPr>
          <p:cNvPr id="572" name="Picture 571" descr="ipp_abdullah_hassanin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4754880"/>
            <a:ext cx="640080" cy="640080"/>
          </a:xfrm>
          <a:prstGeom prst="rect">
            <a:avLst/>
          </a:prstGeom>
        </p:spPr>
      </p:pic>
      <p:sp>
        <p:nvSpPr>
          <p:cNvPr id="573" name="TextBox 572"/>
          <p:cNvSpPr txBox="1"/>
          <p:nvPr/>
        </p:nvSpPr>
        <p:spPr>
          <a:xfrm>
            <a:off x="45720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bdullah </a:t>
            </a:r>
            <a:br/>
            <a:r>
              <a:t>Hassanin</a:t>
            </a:r>
            <a:br/>
            <a:r>
              <a:t>Finance</a:t>
            </a:r>
            <a:br/>
            <a:r>
              <a:t>Senior Coordinator</a:t>
            </a:r>
          </a:p>
        </p:txBody>
      </p:sp>
      <p:sp>
        <p:nvSpPr>
          <p:cNvPr id="574" name="TextBox 573"/>
          <p:cNvSpPr txBox="1"/>
          <p:nvPr/>
        </p:nvSpPr>
        <p:spPr>
          <a:xfrm>
            <a:off x="45720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75" name="Picture 574" descr="Egypt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2020" y="6035040"/>
            <a:ext cx="256032" cy="168442"/>
          </a:xfrm>
          <a:prstGeom prst="rect">
            <a:avLst/>
          </a:prstGeom>
        </p:spPr>
      </p:pic>
      <p:pic>
        <p:nvPicPr>
          <p:cNvPr id="576" name="Picture 575" descr="ipp_hajar_jaafar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6400" y="4754880"/>
            <a:ext cx="640080" cy="640080"/>
          </a:xfrm>
          <a:prstGeom prst="rect">
            <a:avLst/>
          </a:prstGeom>
        </p:spPr>
      </p:pic>
      <p:sp>
        <p:nvSpPr>
          <p:cNvPr id="577" name="TextBox 576"/>
          <p:cNvSpPr txBox="1"/>
          <p:nvPr/>
        </p:nvSpPr>
        <p:spPr>
          <a:xfrm>
            <a:off x="54864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Hajar </a:t>
            </a:r>
            <a:br/>
            <a:r>
              <a:t>Jaafar</a:t>
            </a:r>
            <a:br/>
            <a:r>
              <a:t>Finance</a:t>
            </a:r>
            <a:br/>
            <a:r>
              <a:t>Senior Coordinator</a:t>
            </a:r>
          </a:p>
        </p:txBody>
      </p:sp>
      <p:sp>
        <p:nvSpPr>
          <p:cNvPr id="578" name="TextBox 577"/>
          <p:cNvSpPr txBox="1"/>
          <p:nvPr/>
        </p:nvSpPr>
        <p:spPr>
          <a:xfrm>
            <a:off x="54864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79" name="Picture 578" descr="image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46420" y="6035040"/>
            <a:ext cx="256032" cy="168442"/>
          </a:xfrm>
          <a:prstGeom prst="rect">
            <a:avLst/>
          </a:prstGeom>
        </p:spPr>
      </p:pic>
      <p:pic>
        <p:nvPicPr>
          <p:cNvPr id="580" name="Picture 579" descr="ipp_filipa_menezes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00800" y="4754880"/>
            <a:ext cx="640080" cy="640080"/>
          </a:xfrm>
          <a:prstGeom prst="rect">
            <a:avLst/>
          </a:prstGeom>
        </p:spPr>
      </p:pic>
      <p:sp>
        <p:nvSpPr>
          <p:cNvPr id="581" name="TextBox 580"/>
          <p:cNvSpPr txBox="1"/>
          <p:nvPr/>
        </p:nvSpPr>
        <p:spPr>
          <a:xfrm>
            <a:off x="6400800" y="51816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Filipa </a:t>
            </a:r>
            <a:br/>
            <a:r>
              <a:t>Menezes</a:t>
            </a:r>
            <a:br/>
            <a:r>
              <a:t>Finance</a:t>
            </a:r>
            <a:br/>
            <a:r>
              <a:t>Senior Coordinator</a:t>
            </a:r>
          </a:p>
        </p:txBody>
      </p:sp>
      <p:sp>
        <p:nvSpPr>
          <p:cNvPr id="582" name="TextBox 581"/>
          <p:cNvSpPr txBox="1"/>
          <p:nvPr/>
        </p:nvSpPr>
        <p:spPr>
          <a:xfrm>
            <a:off x="6400800" y="5059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83" name="Picture 582" descr="Spai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0820" y="6035040"/>
            <a:ext cx="256032" cy="168442"/>
          </a:xfrm>
          <a:prstGeom prst="rect">
            <a:avLst/>
          </a:prstGeom>
        </p:spPr>
      </p:pic>
      <p:pic>
        <p:nvPicPr>
          <p:cNvPr id="584" name="Picture 583" descr="ipp_juliette_roussel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72000" y="6126480"/>
            <a:ext cx="640080" cy="640080"/>
          </a:xfrm>
          <a:prstGeom prst="rect">
            <a:avLst/>
          </a:prstGeom>
        </p:spPr>
      </p:pic>
      <p:sp>
        <p:nvSpPr>
          <p:cNvPr id="585" name="TextBox 584"/>
          <p:cNvSpPr txBox="1"/>
          <p:nvPr/>
        </p:nvSpPr>
        <p:spPr>
          <a:xfrm>
            <a:off x="4572000" y="655320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Juliette </a:t>
            </a:r>
            <a:br/>
            <a:r>
              <a:t>Roussel</a:t>
            </a:r>
            <a:br/>
            <a:r>
              <a:t>Finance</a:t>
            </a:r>
            <a:br/>
            <a:r>
              <a:t>Senior Coordinator</a:t>
            </a:r>
          </a:p>
        </p:txBody>
      </p:sp>
      <p:sp>
        <p:nvSpPr>
          <p:cNvPr id="586" name="TextBox 585"/>
          <p:cNvSpPr txBox="1"/>
          <p:nvPr/>
        </p:nvSpPr>
        <p:spPr>
          <a:xfrm>
            <a:off x="4572000" y="64312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87" name="Picture 586" descr="UAE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32020" y="7406640"/>
            <a:ext cx="256032" cy="168442"/>
          </a:xfrm>
          <a:prstGeom prst="rect">
            <a:avLst/>
          </a:prstGeom>
        </p:spPr>
      </p:pic>
      <p:pic>
        <p:nvPicPr>
          <p:cNvPr id="588" name="Picture 587" descr="ipp_ahmed_abdallah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058400" y="1737360"/>
            <a:ext cx="640080" cy="640080"/>
          </a:xfrm>
          <a:prstGeom prst="rect">
            <a:avLst/>
          </a:prstGeom>
        </p:spPr>
      </p:pic>
      <p:sp>
        <p:nvSpPr>
          <p:cNvPr id="589" name="TextBox 588"/>
          <p:cNvSpPr txBox="1"/>
          <p:nvPr/>
        </p:nvSpPr>
        <p:spPr>
          <a:xfrm>
            <a:off x="100584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Ahmed </a:t>
            </a:r>
            <a:br/>
            <a:r>
              <a:t>Abdallah</a:t>
            </a:r>
            <a:br/>
            <a:r>
              <a:t>Finance Lead</a:t>
            </a:r>
          </a:p>
        </p:txBody>
      </p:sp>
      <p:sp>
        <p:nvSpPr>
          <p:cNvPr id="590" name="TextBox 589"/>
          <p:cNvSpPr txBox="1"/>
          <p:nvPr/>
        </p:nvSpPr>
        <p:spPr>
          <a:xfrm>
            <a:off x="100584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91" name="Picture 590" descr="Egypt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18420" y="3017520"/>
            <a:ext cx="256032" cy="168442"/>
          </a:xfrm>
          <a:prstGeom prst="rect">
            <a:avLst/>
          </a:prstGeom>
        </p:spPr>
      </p:pic>
      <p:pic>
        <p:nvPicPr>
          <p:cNvPr id="592" name="Picture 591" descr="ipp_mohamed_walid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972800" y="1737360"/>
            <a:ext cx="640080" cy="640080"/>
          </a:xfrm>
          <a:prstGeom prst="rect">
            <a:avLst/>
          </a:prstGeom>
        </p:spPr>
      </p:pic>
      <p:sp>
        <p:nvSpPr>
          <p:cNvPr id="593" name="TextBox 592"/>
          <p:cNvSpPr txBox="1"/>
          <p:nvPr/>
        </p:nvSpPr>
        <p:spPr>
          <a:xfrm>
            <a:off x="109728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 </a:t>
            </a:r>
            <a:br/>
            <a:r>
              <a:t>Mohamed Walid</a:t>
            </a:r>
            <a:br/>
            <a:r>
              <a:t>Finance</a:t>
            </a:r>
            <a:br/>
            <a:r>
              <a:t>Coordinator</a:t>
            </a:r>
          </a:p>
        </p:txBody>
      </p:sp>
      <p:sp>
        <p:nvSpPr>
          <p:cNvPr id="594" name="TextBox 593"/>
          <p:cNvSpPr txBox="1"/>
          <p:nvPr/>
        </p:nvSpPr>
        <p:spPr>
          <a:xfrm>
            <a:off x="109728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95" name="Picture 594" descr="Egypt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32820" y="3017520"/>
            <a:ext cx="256032" cy="168442"/>
          </a:xfrm>
          <a:prstGeom prst="rect">
            <a:avLst/>
          </a:prstGeom>
        </p:spPr>
      </p:pic>
      <p:pic>
        <p:nvPicPr>
          <p:cNvPr id="596" name="Picture 595" descr="ipp_laura_ruz_lizarraga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887200" y="1737360"/>
            <a:ext cx="640080" cy="640080"/>
          </a:xfrm>
          <a:prstGeom prst="rect">
            <a:avLst/>
          </a:prstGeom>
        </p:spPr>
      </p:pic>
      <p:sp>
        <p:nvSpPr>
          <p:cNvPr id="597" name="TextBox 596"/>
          <p:cNvSpPr txBox="1"/>
          <p:nvPr/>
        </p:nvSpPr>
        <p:spPr>
          <a:xfrm>
            <a:off x="11887200" y="21640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Laura Ruz </a:t>
            </a:r>
            <a:br/>
            <a:r>
              <a:t>Lizarraga</a:t>
            </a:r>
            <a:br/>
            <a:r>
              <a:t>Finance</a:t>
            </a:r>
            <a:br/>
            <a:r>
              <a:t>Coordinator</a:t>
            </a:r>
          </a:p>
        </p:txBody>
      </p:sp>
      <p:sp>
        <p:nvSpPr>
          <p:cNvPr id="598" name="TextBox 597"/>
          <p:cNvSpPr txBox="1"/>
          <p:nvPr/>
        </p:nvSpPr>
        <p:spPr>
          <a:xfrm>
            <a:off x="11887200" y="20421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599" name="Picture 598" descr="Mexico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2047220" y="3017520"/>
            <a:ext cx="256032" cy="168442"/>
          </a:xfrm>
          <a:prstGeom prst="rect">
            <a:avLst/>
          </a:prstGeom>
        </p:spPr>
      </p:pic>
      <p:pic>
        <p:nvPicPr>
          <p:cNvPr id="600" name="Picture 599" descr="ipp_saad_tariq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058400" y="3108960"/>
            <a:ext cx="640080" cy="640080"/>
          </a:xfrm>
          <a:prstGeom prst="rect">
            <a:avLst/>
          </a:prstGeom>
        </p:spPr>
      </p:pic>
      <p:sp>
        <p:nvSpPr>
          <p:cNvPr id="601" name="TextBox 600"/>
          <p:cNvSpPr txBox="1"/>
          <p:nvPr/>
        </p:nvSpPr>
        <p:spPr>
          <a:xfrm>
            <a:off x="100584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Saad </a:t>
            </a:r>
            <a:br/>
            <a:r>
              <a:t>Tariq</a:t>
            </a:r>
            <a:br/>
            <a:r>
              <a:t>Finance</a:t>
            </a:r>
            <a:br/>
            <a:r>
              <a:t>Representative</a:t>
            </a:r>
          </a:p>
        </p:txBody>
      </p:sp>
      <p:sp>
        <p:nvSpPr>
          <p:cNvPr id="602" name="TextBox 601"/>
          <p:cNvSpPr txBox="1"/>
          <p:nvPr/>
        </p:nvSpPr>
        <p:spPr>
          <a:xfrm>
            <a:off x="100584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03" name="Picture 602" descr="image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218420" y="4389120"/>
            <a:ext cx="256032" cy="168442"/>
          </a:xfrm>
          <a:prstGeom prst="rect">
            <a:avLst/>
          </a:prstGeom>
        </p:spPr>
      </p:pic>
      <p:pic>
        <p:nvPicPr>
          <p:cNvPr id="604" name="Picture 603" descr="ipp_lazzat_zhunisbek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972800" y="3108960"/>
            <a:ext cx="640080" cy="640080"/>
          </a:xfrm>
          <a:prstGeom prst="rect">
            <a:avLst/>
          </a:prstGeom>
        </p:spPr>
      </p:pic>
      <p:sp>
        <p:nvSpPr>
          <p:cNvPr id="605" name="TextBox 604"/>
          <p:cNvSpPr txBox="1"/>
          <p:nvPr/>
        </p:nvSpPr>
        <p:spPr>
          <a:xfrm>
            <a:off x="10972800" y="353568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700"/>
            </a:pPr>
            <a:r>
              <a:t>Lazzat </a:t>
            </a:r>
            <a:br/>
            <a:r>
              <a:t>Zhunisbek</a:t>
            </a:r>
            <a:br/>
            <a:r>
              <a:t>Finance</a:t>
            </a:r>
            <a:br/>
            <a:r>
              <a:t>Representative</a:t>
            </a:r>
          </a:p>
        </p:txBody>
      </p:sp>
      <p:sp>
        <p:nvSpPr>
          <p:cNvPr id="606" name="TextBox 605"/>
          <p:cNvSpPr txBox="1"/>
          <p:nvPr/>
        </p:nvSpPr>
        <p:spPr>
          <a:xfrm>
            <a:off x="10972800" y="3413760"/>
            <a:ext cx="32004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07" name="Picture 606" descr="UAE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132820" y="4389120"/>
            <a:ext cx="256032" cy="168442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44"/>
          <p:cNvSpPr/>
          <p:nvPr/>
        </p:nvSpPr>
        <p:spPr>
          <a:xfrm>
            <a:off x="560577" y="1592509"/>
            <a:ext cx="2793796" cy="15234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all steering of the Human Capital Func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2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ing and implementing Infomineo HR policies across the offi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Professional Development Initia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Talent Recruitment and Retention strateg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ibuting to the overall company strateg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" name="Google Shape;582;p44"/>
          <p:cNvSpPr/>
          <p:nvPr/>
        </p:nvSpPr>
        <p:spPr>
          <a:xfrm>
            <a:off x="6255453" y="4130655"/>
            <a:ext cx="2217786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bor law and compli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any policies &amp; procedure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ayroll &amp; Leave administration, incl. Social insurance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ensation and benefit programs, incl. Health &amp; life insurance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ministrative request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mployees Issues, and complains 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nboarding/offboarding proces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" name="Google Shape;583;p44"/>
          <p:cNvSpPr/>
          <p:nvPr/>
        </p:nvSpPr>
        <p:spPr>
          <a:xfrm>
            <a:off x="6258444" y="1576057"/>
            <a:ext cx="2841934" cy="150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ffing Committee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ining &amp; E- Learning (Onboarding and Ongoing)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ance Evaluation </a:t>
            </a:r>
            <a:r>
              <a:rPr lang="fr-F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eer Developm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ltancy and coaching for managers and their team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bility program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4" name="Google Shape;584;p44"/>
          <p:cNvSpPr/>
          <p:nvPr/>
        </p:nvSpPr>
        <p:spPr>
          <a:xfrm>
            <a:off x="521302" y="3726767"/>
            <a:ext cx="2651060" cy="13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acting new talent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pplication processes and interviews management 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ruitment event planning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ent pool cultiva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didates Referral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ition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5" name="Google Shape;585;p4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Human Capital</a:t>
            </a:r>
            <a:endParaRPr/>
          </a:p>
        </p:txBody>
      </p:sp>
      <p:cxnSp>
        <p:nvCxnSpPr>
          <p:cNvPr id="586" name="Google Shape;586;p44"/>
          <p:cNvCxnSpPr/>
          <p:nvPr/>
        </p:nvCxnSpPr>
        <p:spPr>
          <a:xfrm>
            <a:off x="2854359" y="1191860"/>
            <a:ext cx="282197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87" name="Google Shape;587;p44"/>
          <p:cNvSpPr txBox="1"/>
          <p:nvPr/>
        </p:nvSpPr>
        <p:spPr>
          <a:xfrm>
            <a:off x="6303759" y="3629387"/>
            <a:ext cx="3499403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R Administration &amp; Compensation &amp; Benefi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8" name="Google Shape;588;p44"/>
          <p:cNvCxnSpPr/>
          <p:nvPr/>
        </p:nvCxnSpPr>
        <p:spPr>
          <a:xfrm rot="10800000" flipH="1">
            <a:off x="9837045" y="3762199"/>
            <a:ext cx="1562792" cy="8019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89" name="Google Shape;589;p44"/>
          <p:cNvSpPr txBox="1"/>
          <p:nvPr/>
        </p:nvSpPr>
        <p:spPr>
          <a:xfrm>
            <a:off x="6255520" y="1083009"/>
            <a:ext cx="295462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5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Professional </a:t>
            </a:r>
            <a:r>
              <a:rPr lang="fr-FR" sz="15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Development</a:t>
            </a:r>
            <a:r>
              <a:rPr lang="fr-FR" sz="15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0" name="Google Shape;590;p44"/>
          <p:cNvCxnSpPr/>
          <p:nvPr/>
        </p:nvCxnSpPr>
        <p:spPr>
          <a:xfrm>
            <a:off x="8963884" y="1215048"/>
            <a:ext cx="245805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91" name="Google Shape;591;p44"/>
          <p:cNvSpPr txBox="1"/>
          <p:nvPr/>
        </p:nvSpPr>
        <p:spPr>
          <a:xfrm>
            <a:off x="473486" y="3408930"/>
            <a:ext cx="146136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cruitment 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2" name="Google Shape;592;p44"/>
          <p:cNvCxnSpPr/>
          <p:nvPr/>
        </p:nvCxnSpPr>
        <p:spPr>
          <a:xfrm>
            <a:off x="2051535" y="3555187"/>
            <a:ext cx="3607105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97" name="Google Shape;597;p44"/>
          <p:cNvSpPr txBox="1">
            <a:spLocks noGrp="1"/>
          </p:cNvSpPr>
          <p:nvPr>
            <p:ph type="sldNum" idx="12"/>
          </p:nvPr>
        </p:nvSpPr>
        <p:spPr>
          <a:xfrm>
            <a:off x="11749936" y="6537483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6</a:t>
            </a:fld>
            <a:endParaRPr/>
          </a:p>
        </p:txBody>
      </p:sp>
      <p:sp>
        <p:nvSpPr>
          <p:cNvPr id="608" name="Google Shape;608;p44"/>
          <p:cNvSpPr txBox="1"/>
          <p:nvPr/>
        </p:nvSpPr>
        <p:spPr>
          <a:xfrm>
            <a:off x="473486" y="1084138"/>
            <a:ext cx="265106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uman Capital </a:t>
            </a:r>
            <a:r>
              <a:rPr lang="fr-FR" sz="14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trategy</a:t>
            </a: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95E85D-927F-1C52-EC6F-2B07E5FEAC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460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95E85D-927F-1C52-EC6F-2B07E5FEAC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9" name="Google Shape;629;p1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Operations Team</a:t>
            </a:r>
            <a:endParaRPr dirty="0"/>
          </a:p>
        </p:txBody>
      </p:sp>
      <p:sp>
        <p:nvSpPr>
          <p:cNvPr id="630" name="Google Shape;630;p10"/>
          <p:cNvSpPr/>
          <p:nvPr/>
        </p:nvSpPr>
        <p:spPr>
          <a:xfrm>
            <a:off x="5504463" y="5656051"/>
            <a:ext cx="5985689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par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iodic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reports for COO and manager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ist the COO in setting and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peration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trics</a:t>
            </a:r>
            <a:r>
              <a:rPr lang="fr-FR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oals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e incident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lated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Odoo system </a:t>
            </a:r>
            <a:r>
              <a:rPr lang="fr-FR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porting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10"/>
          <p:cNvSpPr/>
          <p:nvPr/>
        </p:nvSpPr>
        <p:spPr>
          <a:xfrm>
            <a:off x="5537879" y="1856727"/>
            <a:ext cx="5899493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ruit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rge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k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ur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pac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e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mand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am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ffing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oordination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ximiz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tiliz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l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nowledg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pitaliz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ategie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2" name="Google Shape;632;p10"/>
          <p:cNvSpPr/>
          <p:nvPr/>
        </p:nvSpPr>
        <p:spPr>
          <a:xfrm>
            <a:off x="5525489" y="3085397"/>
            <a:ext cx="6115346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laborat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ervice teams on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ffer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tter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(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 Local administrations)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 good local value proposition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ac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he best talent.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inuou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ontributions to th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'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fitabil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perations team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3" name="Google Shape;633;p10"/>
          <p:cNvSpPr txBox="1"/>
          <p:nvPr/>
        </p:nvSpPr>
        <p:spPr>
          <a:xfrm>
            <a:off x="5399704" y="5325614"/>
            <a:ext cx="299245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rations’ Team </a:t>
            </a:r>
            <a:r>
              <a:rPr lang="fr-FR" sz="14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mbers</a:t>
            </a: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4" name="Google Shape;634;p10"/>
          <p:cNvSpPr txBox="1"/>
          <p:nvPr/>
        </p:nvSpPr>
        <p:spPr>
          <a:xfrm>
            <a:off x="5436772" y="1553221"/>
            <a:ext cx="1908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ief Operating </a:t>
            </a:r>
            <a:r>
              <a:rPr lang="fr-FR" sz="14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r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5" name="Google Shape;635;p10"/>
          <p:cNvSpPr txBox="1"/>
          <p:nvPr/>
        </p:nvSpPr>
        <p:spPr>
          <a:xfrm>
            <a:off x="5436772" y="2720192"/>
            <a:ext cx="1908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ry Managers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0" name="Google Shape;640;p10"/>
          <p:cNvSpPr txBox="1">
            <a:spLocks noGrp="1"/>
          </p:cNvSpPr>
          <p:nvPr>
            <p:ph type="sldNum" idx="12"/>
          </p:nvPr>
        </p:nvSpPr>
        <p:spPr>
          <a:xfrm>
            <a:off x="11490153" y="568329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7</a:t>
            </a:fld>
            <a:endParaRPr/>
          </a:p>
        </p:txBody>
      </p:sp>
      <p:sp>
        <p:nvSpPr>
          <p:cNvPr id="648" name="Google Shape;648;p10"/>
          <p:cNvSpPr txBox="1"/>
          <p:nvPr/>
        </p:nvSpPr>
        <p:spPr>
          <a:xfrm>
            <a:off x="5436772" y="4026356"/>
            <a:ext cx="339226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gital Transformation Manager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0"/>
          <p:cNvSpPr/>
          <p:nvPr/>
        </p:nvSpPr>
        <p:spPr>
          <a:xfrm>
            <a:off x="5537879" y="4264485"/>
            <a:ext cx="6192455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d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mineo'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igital transformation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cus on proces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ros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partmen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upport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liver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rag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chnolog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ervic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l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rna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terna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ers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inuou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ractice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Google Shape;662;p11">
            <a:extLst>
              <a:ext uri="{FF2B5EF4-FFF2-40B4-BE49-F238E27FC236}">
                <a16:creationId xmlns:a16="http://schemas.microsoft.com/office/drawing/2014/main" id="{E1847361-0F8E-E28F-3D8D-D4ECCA0F526C}"/>
              </a:ext>
            </a:extLst>
          </p:cNvPr>
          <p:cNvCxnSpPr>
            <a:cxnSpLocks/>
          </p:cNvCxnSpPr>
          <p:nvPr/>
        </p:nvCxnSpPr>
        <p:spPr>
          <a:xfrm>
            <a:off x="5303520" y="1344327"/>
            <a:ext cx="6362008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8" name="Google Shape;665;p11">
            <a:extLst>
              <a:ext uri="{FF2B5EF4-FFF2-40B4-BE49-F238E27FC236}">
                <a16:creationId xmlns:a16="http://schemas.microsoft.com/office/drawing/2014/main" id="{F813E39D-C66C-9A09-1D7A-62A3C7B63A6B}"/>
              </a:ext>
            </a:extLst>
          </p:cNvPr>
          <p:cNvCxnSpPr>
            <a:cxnSpLocks/>
          </p:cNvCxnSpPr>
          <p:nvPr/>
        </p:nvCxnSpPr>
        <p:spPr>
          <a:xfrm>
            <a:off x="537882" y="1344327"/>
            <a:ext cx="4145878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9" name="Google Shape;666;p11">
            <a:extLst>
              <a:ext uri="{FF2B5EF4-FFF2-40B4-BE49-F238E27FC236}">
                <a16:creationId xmlns:a16="http://schemas.microsoft.com/office/drawing/2014/main" id="{1A5C2B4F-9B93-0932-57DE-83F729B15439}"/>
              </a:ext>
            </a:extLst>
          </p:cNvPr>
          <p:cNvSpPr/>
          <p:nvPr/>
        </p:nvSpPr>
        <p:spPr>
          <a:xfrm>
            <a:off x="7353393" y="12019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do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do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667;p11">
            <a:extLst>
              <a:ext uri="{FF2B5EF4-FFF2-40B4-BE49-F238E27FC236}">
                <a16:creationId xmlns:a16="http://schemas.microsoft.com/office/drawing/2014/main" id="{4315386E-BABA-8A39-DFB3-89D5347D78F4}"/>
              </a:ext>
            </a:extLst>
          </p:cNvPr>
          <p:cNvSpPr/>
          <p:nvPr/>
        </p:nvSpPr>
        <p:spPr>
          <a:xfrm>
            <a:off x="1802156" y="12019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are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Google Shape;678;p11">
            <a:extLst>
              <a:ext uri="{FF2B5EF4-FFF2-40B4-BE49-F238E27FC236}">
                <a16:creationId xmlns:a16="http://schemas.microsoft.com/office/drawing/2014/main" id="{0FCA368F-739C-749C-F99B-90017E29367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1856727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681;p11">
            <a:extLst>
              <a:ext uri="{FF2B5EF4-FFF2-40B4-BE49-F238E27FC236}">
                <a16:creationId xmlns:a16="http://schemas.microsoft.com/office/drawing/2014/main" id="{46AF4AC8-E374-47CE-936A-827194292C84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2152574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682;p11">
            <a:extLst>
              <a:ext uri="{FF2B5EF4-FFF2-40B4-BE49-F238E27FC236}">
                <a16:creationId xmlns:a16="http://schemas.microsoft.com/office/drawing/2014/main" id="{7CB8FDA0-9874-A121-39C6-87642B9D5196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244632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678;p11">
            <a:extLst>
              <a:ext uri="{FF2B5EF4-FFF2-40B4-BE49-F238E27FC236}">
                <a16:creationId xmlns:a16="http://schemas.microsoft.com/office/drawing/2014/main" id="{0DABA720-9D8F-371C-6558-1A228E47238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3084396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681;p11">
            <a:extLst>
              <a:ext uri="{FF2B5EF4-FFF2-40B4-BE49-F238E27FC236}">
                <a16:creationId xmlns:a16="http://schemas.microsoft.com/office/drawing/2014/main" id="{27A651F3-7789-96EE-C8A8-232A0C9CEA5F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338024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682;p11">
            <a:extLst>
              <a:ext uri="{FF2B5EF4-FFF2-40B4-BE49-F238E27FC236}">
                <a16:creationId xmlns:a16="http://schemas.microsoft.com/office/drawing/2014/main" id="{90AE1FF4-5A95-6283-2937-01A53BA8DE0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3673992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Google Shape;681;p11">
            <a:extLst>
              <a:ext uri="{FF2B5EF4-FFF2-40B4-BE49-F238E27FC236}">
                <a16:creationId xmlns:a16="http://schemas.microsoft.com/office/drawing/2014/main" id="{7155972E-2F22-5EF2-1AA1-79B4DA82837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4300244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682;p11">
            <a:extLst>
              <a:ext uri="{FF2B5EF4-FFF2-40B4-BE49-F238E27FC236}">
                <a16:creationId xmlns:a16="http://schemas.microsoft.com/office/drawing/2014/main" id="{7F1D4C71-3157-5488-C21B-C89CFCF3E46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525523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681;p11">
            <a:extLst>
              <a:ext uri="{FF2B5EF4-FFF2-40B4-BE49-F238E27FC236}">
                <a16:creationId xmlns:a16="http://schemas.microsoft.com/office/drawing/2014/main" id="{C2F0C877-529E-0BA4-D887-142A4C29586E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750802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682;p11">
            <a:extLst>
              <a:ext uri="{FF2B5EF4-FFF2-40B4-BE49-F238E27FC236}">
                <a16:creationId xmlns:a16="http://schemas.microsoft.com/office/drawing/2014/main" id="{81425B9B-D35B-6FC1-7EBE-F2BCE420E4E7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976081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Google Shape;681;p11">
            <a:extLst>
              <a:ext uri="{FF2B5EF4-FFF2-40B4-BE49-F238E27FC236}">
                <a16:creationId xmlns:a16="http://schemas.microsoft.com/office/drawing/2014/main" id="{3E63AB9E-46EC-6688-4416-6665225DB9E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5634474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Google Shape;682;p11">
            <a:extLst>
              <a:ext uri="{FF2B5EF4-FFF2-40B4-BE49-F238E27FC236}">
                <a16:creationId xmlns:a16="http://schemas.microsoft.com/office/drawing/2014/main" id="{286ECCD0-D630-9113-2902-36B6D682E25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591806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Google Shape;681;p11">
            <a:extLst>
              <a:ext uri="{FF2B5EF4-FFF2-40B4-BE49-F238E27FC236}">
                <a16:creationId xmlns:a16="http://schemas.microsoft.com/office/drawing/2014/main" id="{1718D303-8D19-4DCB-C3FE-4B22EAF117F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6164266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50" name="Picture 649" descr="ipp_faizel_logday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1600" y="2011680"/>
            <a:ext cx="731520" cy="731520"/>
          </a:xfrm>
          <a:prstGeom prst="rect">
            <a:avLst/>
          </a:prstGeom>
        </p:spPr>
      </p:pic>
      <p:sp>
        <p:nvSpPr>
          <p:cNvPr id="651" name="TextBox 650"/>
          <p:cNvSpPr txBox="1"/>
          <p:nvPr/>
        </p:nvSpPr>
        <p:spPr>
          <a:xfrm>
            <a:off x="13716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Faizel </a:t>
            </a:r>
            <a:br/>
            <a:r>
              <a:t>Logday</a:t>
            </a:r>
            <a:br/>
            <a:r>
              <a:t>Chief</a:t>
            </a:r>
            <a:br/>
            <a:r>
              <a:t>Operations Officer</a:t>
            </a:r>
          </a:p>
        </p:txBody>
      </p:sp>
      <p:sp>
        <p:nvSpPr>
          <p:cNvPr id="652" name="TextBox 651"/>
          <p:cNvSpPr txBox="1"/>
          <p:nvPr/>
        </p:nvSpPr>
        <p:spPr>
          <a:xfrm>
            <a:off x="13716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53" name="Picture 652" descr="Spain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4480" y="3291840"/>
            <a:ext cx="292608" cy="192505"/>
          </a:xfrm>
          <a:prstGeom prst="rect">
            <a:avLst/>
          </a:prstGeom>
        </p:spPr>
      </p:pic>
      <p:pic>
        <p:nvPicPr>
          <p:cNvPr id="654" name="Picture 653" descr="ipp_mohamed_abdelmagid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" y="3657600"/>
            <a:ext cx="731520" cy="731520"/>
          </a:xfrm>
          <a:prstGeom prst="rect">
            <a:avLst/>
          </a:prstGeom>
        </p:spPr>
      </p:pic>
      <p:sp>
        <p:nvSpPr>
          <p:cNvPr id="655" name="TextBox 654"/>
          <p:cNvSpPr txBox="1"/>
          <p:nvPr/>
        </p:nvSpPr>
        <p:spPr>
          <a:xfrm>
            <a:off x="457200" y="4145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Abdelmagid</a:t>
            </a:r>
            <a:br/>
            <a:r>
              <a:t>Country</a:t>
            </a:r>
            <a:br/>
            <a:r>
              <a:t>Manager</a:t>
            </a:r>
          </a:p>
        </p:txBody>
      </p:sp>
      <p:sp>
        <p:nvSpPr>
          <p:cNvPr id="656" name="TextBox 655"/>
          <p:cNvSpPr txBox="1"/>
          <p:nvPr/>
        </p:nvSpPr>
        <p:spPr>
          <a:xfrm>
            <a:off x="457200" y="3962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57" name="Picture 656" descr="Egypt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0080" y="4937760"/>
            <a:ext cx="292608" cy="192505"/>
          </a:xfrm>
          <a:prstGeom prst="rect">
            <a:avLst/>
          </a:prstGeom>
        </p:spPr>
      </p:pic>
      <p:pic>
        <p:nvPicPr>
          <p:cNvPr id="658" name="Picture 657" descr="ipp_luis_carlos_chapa_cardenas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71600" y="3657600"/>
            <a:ext cx="731520" cy="731520"/>
          </a:xfrm>
          <a:prstGeom prst="rect">
            <a:avLst/>
          </a:prstGeom>
        </p:spPr>
      </p:pic>
      <p:sp>
        <p:nvSpPr>
          <p:cNvPr id="659" name="TextBox 658"/>
          <p:cNvSpPr txBox="1"/>
          <p:nvPr/>
        </p:nvSpPr>
        <p:spPr>
          <a:xfrm>
            <a:off x="1371600" y="4145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Luis Carlos </a:t>
            </a:r>
            <a:br/>
            <a:r>
              <a:t>Chapa Cardenas</a:t>
            </a:r>
            <a:br/>
            <a:r>
              <a:t>Country</a:t>
            </a:r>
            <a:br/>
            <a:r>
              <a:t>Manager</a:t>
            </a:r>
          </a:p>
        </p:txBody>
      </p:sp>
      <p:sp>
        <p:nvSpPr>
          <p:cNvPr id="660" name="TextBox 659"/>
          <p:cNvSpPr txBox="1"/>
          <p:nvPr/>
        </p:nvSpPr>
        <p:spPr>
          <a:xfrm>
            <a:off x="1371600" y="3962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61" name="Picture 660" descr="Mexico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4480" y="4937760"/>
            <a:ext cx="292608" cy="192505"/>
          </a:xfrm>
          <a:prstGeom prst="rect">
            <a:avLst/>
          </a:prstGeom>
        </p:spPr>
      </p:pic>
      <p:pic>
        <p:nvPicPr>
          <p:cNvPr id="662" name="Picture 661" descr="ipp_asmaa_bennani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86000" y="3657600"/>
            <a:ext cx="731520" cy="731520"/>
          </a:xfrm>
          <a:prstGeom prst="rect">
            <a:avLst/>
          </a:prstGeom>
        </p:spPr>
      </p:pic>
      <p:sp>
        <p:nvSpPr>
          <p:cNvPr id="663" name="TextBox 662"/>
          <p:cNvSpPr txBox="1"/>
          <p:nvPr/>
        </p:nvSpPr>
        <p:spPr>
          <a:xfrm>
            <a:off x="2286000" y="41452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smaa </a:t>
            </a:r>
            <a:br/>
            <a:r>
              <a:t>Bennani</a:t>
            </a:r>
            <a:br/>
            <a:r>
              <a:t>Country</a:t>
            </a:r>
            <a:br/>
            <a:r>
              <a:t>Manager</a:t>
            </a:r>
          </a:p>
        </p:txBody>
      </p:sp>
      <p:sp>
        <p:nvSpPr>
          <p:cNvPr id="664" name="TextBox 663"/>
          <p:cNvSpPr txBox="1"/>
          <p:nvPr/>
        </p:nvSpPr>
        <p:spPr>
          <a:xfrm>
            <a:off x="2286000" y="396240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65" name="Picture 664" descr="image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68880" y="4937760"/>
            <a:ext cx="292608" cy="192505"/>
          </a:xfrm>
          <a:prstGeom prst="rect">
            <a:avLst/>
          </a:prstGeom>
        </p:spPr>
      </p:pic>
      <p:pic>
        <p:nvPicPr>
          <p:cNvPr id="666" name="Picture 665" descr="ipp_mariam_erian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" y="5669280"/>
            <a:ext cx="731520" cy="731520"/>
          </a:xfrm>
          <a:prstGeom prst="rect">
            <a:avLst/>
          </a:prstGeom>
        </p:spPr>
      </p:pic>
      <p:sp>
        <p:nvSpPr>
          <p:cNvPr id="667" name="TextBox 666"/>
          <p:cNvSpPr txBox="1"/>
          <p:nvPr/>
        </p:nvSpPr>
        <p:spPr>
          <a:xfrm>
            <a:off x="4572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ariam </a:t>
            </a:r>
            <a:br/>
            <a:r>
              <a:t>Erian</a:t>
            </a:r>
            <a:br/>
            <a:r>
              <a:t>Operations</a:t>
            </a:r>
            <a:br/>
            <a:r>
              <a:t>Senior Analyst</a:t>
            </a:r>
          </a:p>
        </p:txBody>
      </p:sp>
      <p:sp>
        <p:nvSpPr>
          <p:cNvPr id="668" name="TextBox 667"/>
          <p:cNvSpPr txBox="1"/>
          <p:nvPr/>
        </p:nvSpPr>
        <p:spPr>
          <a:xfrm>
            <a:off x="4572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69" name="Picture 668" descr="Egypt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0080" y="6949440"/>
            <a:ext cx="292608" cy="192505"/>
          </a:xfrm>
          <a:prstGeom prst="rect">
            <a:avLst/>
          </a:prstGeom>
        </p:spPr>
      </p:pic>
      <p:pic>
        <p:nvPicPr>
          <p:cNvPr id="670" name="Picture 669" descr="ipp_amine_derj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71600" y="5669280"/>
            <a:ext cx="731520" cy="731520"/>
          </a:xfrm>
          <a:prstGeom prst="rect">
            <a:avLst/>
          </a:prstGeom>
        </p:spPr>
      </p:pic>
      <p:sp>
        <p:nvSpPr>
          <p:cNvPr id="671" name="TextBox 670"/>
          <p:cNvSpPr txBox="1"/>
          <p:nvPr/>
        </p:nvSpPr>
        <p:spPr>
          <a:xfrm>
            <a:off x="13716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mine </a:t>
            </a:r>
            <a:br/>
            <a:r>
              <a:t>Derj</a:t>
            </a:r>
            <a:br/>
            <a:r>
              <a:t>Manager</a:t>
            </a:r>
            <a:br/>
            <a:r>
              <a:t>of Digital Transformation</a:t>
            </a:r>
          </a:p>
        </p:txBody>
      </p:sp>
      <p:sp>
        <p:nvSpPr>
          <p:cNvPr id="672" name="TextBox 671"/>
          <p:cNvSpPr txBox="1"/>
          <p:nvPr/>
        </p:nvSpPr>
        <p:spPr>
          <a:xfrm>
            <a:off x="13716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73" name="Picture 672" descr="image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54480" y="6949440"/>
            <a:ext cx="292608" cy="192505"/>
          </a:xfrm>
          <a:prstGeom prst="rect">
            <a:avLst/>
          </a:prstGeom>
        </p:spPr>
      </p:pic>
      <p:pic>
        <p:nvPicPr>
          <p:cNvPr id="674" name="Picture 673" descr="ipp_nina_lamberts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86000" y="5669280"/>
            <a:ext cx="731520" cy="731520"/>
          </a:xfrm>
          <a:prstGeom prst="rect">
            <a:avLst/>
          </a:prstGeom>
        </p:spPr>
      </p:pic>
      <p:sp>
        <p:nvSpPr>
          <p:cNvPr id="675" name="TextBox 674"/>
          <p:cNvSpPr txBox="1"/>
          <p:nvPr/>
        </p:nvSpPr>
        <p:spPr>
          <a:xfrm>
            <a:off x="2286000" y="6156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Nina </a:t>
            </a:r>
            <a:br/>
            <a:r>
              <a:t>Lamberts</a:t>
            </a:r>
            <a:br/>
            <a:r>
              <a:t>Operations</a:t>
            </a:r>
            <a:br/>
            <a:r>
              <a:t>Lead</a:t>
            </a:r>
          </a:p>
        </p:txBody>
      </p:sp>
      <p:sp>
        <p:nvSpPr>
          <p:cNvPr id="676" name="TextBox 675"/>
          <p:cNvSpPr txBox="1"/>
          <p:nvPr/>
        </p:nvSpPr>
        <p:spPr>
          <a:xfrm>
            <a:off x="2286000" y="5974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77" name="Picture 676" descr="UAE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468880" y="6949440"/>
            <a:ext cx="292608" cy="192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733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C78C1EA-3E8B-EC37-F1FE-8E3B8D1C9A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29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2" name="Google Shape;662;p11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63" name="Google Shape;663;p1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nformation </a:t>
            </a:r>
            <a:r>
              <a:rPr lang="fr-FR" dirty="0" err="1"/>
              <a:t>Technology</a:t>
            </a:r>
            <a:r>
              <a:rPr lang="fr-FR" dirty="0"/>
              <a:t> Team</a:t>
            </a:r>
            <a:endParaRPr dirty="0"/>
          </a:p>
        </p:txBody>
      </p:sp>
      <p:sp>
        <p:nvSpPr>
          <p:cNvPr id="664" name="Google Shape;664;p1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8</a:t>
            </a:fld>
            <a:endParaRPr/>
          </a:p>
        </p:txBody>
      </p:sp>
      <p:cxnSp>
        <p:nvCxnSpPr>
          <p:cNvPr id="665" name="Google Shape;665;p11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66" name="Google Shape;666;p11"/>
          <p:cNvSpPr/>
          <p:nvPr/>
        </p:nvSpPr>
        <p:spPr>
          <a:xfrm>
            <a:off x="8267793" y="15575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7" name="Google Shape;667;p11"/>
          <p:cNvSpPr/>
          <p:nvPr/>
        </p:nvSpPr>
        <p:spPr>
          <a:xfrm>
            <a:off x="2330476" y="15575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6" name="Google Shape;676;p11"/>
          <p:cNvSpPr/>
          <p:nvPr/>
        </p:nvSpPr>
        <p:spPr>
          <a:xfrm>
            <a:off x="7103560" y="1984547"/>
            <a:ext cx="4561967" cy="461665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ementing and Managing IT Systems and Network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7" name="Google Shape;677;p11"/>
          <p:cNvSpPr/>
          <p:nvPr/>
        </p:nvSpPr>
        <p:spPr>
          <a:xfrm>
            <a:off x="7137769" y="4507219"/>
            <a:ext cx="3832478" cy="31034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Onboarding/Offboarding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78" name="Google Shape;678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073034"/>
            <a:ext cx="251882" cy="251882"/>
          </a:xfrm>
          <a:prstGeom prst="rect">
            <a:avLst/>
          </a:prstGeom>
          <a:noFill/>
          <a:ln>
            <a:noFill/>
          </a:ln>
        </p:spPr>
      </p:pic>
      <p:sp>
        <p:nvSpPr>
          <p:cNvPr id="679" name="Google Shape;679;p11"/>
          <p:cNvSpPr/>
          <p:nvPr/>
        </p:nvSpPr>
        <p:spPr>
          <a:xfrm>
            <a:off x="7124741" y="2189570"/>
            <a:ext cx="3480609" cy="525785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IT Support for all business unit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0" name="Google Shape;680;p11"/>
          <p:cNvSpPr/>
          <p:nvPr/>
        </p:nvSpPr>
        <p:spPr>
          <a:xfrm>
            <a:off x="7124741" y="2919716"/>
            <a:ext cx="4516094" cy="556563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ystem Administration and Application/Accounts Management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1" name="Google Shape;681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31113" y="2572081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2" name="Google Shape;682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31113" y="3089350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3" name="Google Shape;683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2968" y="3570175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4" name="Google Shape;684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6074" y="4051000"/>
            <a:ext cx="251882" cy="251882"/>
          </a:xfrm>
          <a:prstGeom prst="rect">
            <a:avLst/>
          </a:prstGeom>
          <a:noFill/>
          <a:ln>
            <a:noFill/>
          </a:ln>
        </p:spPr>
      </p:pic>
      <p:sp>
        <p:nvSpPr>
          <p:cNvPr id="685" name="Google Shape;685;p11"/>
          <p:cNvSpPr/>
          <p:nvPr/>
        </p:nvSpPr>
        <p:spPr>
          <a:xfrm>
            <a:off x="7137769" y="4016740"/>
            <a:ext cx="3772385" cy="31034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Asset Management and Purchasing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6" name="Google Shape;686;p11"/>
          <p:cNvSpPr/>
          <p:nvPr/>
        </p:nvSpPr>
        <p:spPr>
          <a:xfrm>
            <a:off x="7137769" y="3617296"/>
            <a:ext cx="4827809" cy="24622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ing IT Systems security and defining IT Policie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7" name="Google Shape;687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8430" y="4568269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Picture 687" descr="ipp_mohamed_ragheb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2011680"/>
            <a:ext cx="731520" cy="731520"/>
          </a:xfrm>
          <a:prstGeom prst="rect">
            <a:avLst/>
          </a:prstGeom>
        </p:spPr>
      </p:pic>
      <p:sp>
        <p:nvSpPr>
          <p:cNvPr id="689" name="TextBox 688"/>
          <p:cNvSpPr txBox="1"/>
          <p:nvPr/>
        </p:nvSpPr>
        <p:spPr>
          <a:xfrm>
            <a:off x="4572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Mohamed </a:t>
            </a:r>
            <a:br/>
            <a:r>
              <a:t>Ragheb</a:t>
            </a:r>
            <a:br/>
            <a:r>
              <a:t>IT</a:t>
            </a:r>
            <a:br/>
            <a:r>
              <a:t>Manager MENA</a:t>
            </a:r>
          </a:p>
        </p:txBody>
      </p:sp>
      <p:sp>
        <p:nvSpPr>
          <p:cNvPr id="690" name="TextBox 689"/>
          <p:cNvSpPr txBox="1"/>
          <p:nvPr/>
        </p:nvSpPr>
        <p:spPr>
          <a:xfrm>
            <a:off x="4572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91" name="Picture 690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080" y="3291840"/>
            <a:ext cx="292608" cy="192505"/>
          </a:xfrm>
          <a:prstGeom prst="rect">
            <a:avLst/>
          </a:prstGeom>
        </p:spPr>
      </p:pic>
      <p:pic>
        <p:nvPicPr>
          <p:cNvPr id="692" name="Picture 691" descr="ipp_achraf_el_alla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2011680"/>
            <a:ext cx="731520" cy="731520"/>
          </a:xfrm>
          <a:prstGeom prst="rect">
            <a:avLst/>
          </a:prstGeom>
        </p:spPr>
      </p:pic>
      <p:sp>
        <p:nvSpPr>
          <p:cNvPr id="693" name="TextBox 692"/>
          <p:cNvSpPr txBox="1"/>
          <p:nvPr/>
        </p:nvSpPr>
        <p:spPr>
          <a:xfrm>
            <a:off x="13716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chraf </a:t>
            </a:r>
            <a:br/>
            <a:r>
              <a:t>El Allam</a:t>
            </a:r>
            <a:br/>
            <a:r>
              <a:t>IT</a:t>
            </a:r>
            <a:br/>
            <a:r>
              <a:t>Senior Manager, Europe &amp; West Africa</a:t>
            </a:r>
          </a:p>
        </p:txBody>
      </p:sp>
      <p:sp>
        <p:nvSpPr>
          <p:cNvPr id="694" name="TextBox 693"/>
          <p:cNvSpPr txBox="1"/>
          <p:nvPr/>
        </p:nvSpPr>
        <p:spPr>
          <a:xfrm>
            <a:off x="13716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95" name="Picture 694" descr="image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54480" y="3291840"/>
            <a:ext cx="292608" cy="192505"/>
          </a:xfrm>
          <a:prstGeom prst="rect">
            <a:avLst/>
          </a:prstGeom>
        </p:spPr>
      </p:pic>
      <p:pic>
        <p:nvPicPr>
          <p:cNvPr id="696" name="Picture 695" descr="ipp_kareem_ibrahem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200" y="4297680"/>
            <a:ext cx="731520" cy="731520"/>
          </a:xfrm>
          <a:prstGeom prst="rect">
            <a:avLst/>
          </a:prstGeom>
        </p:spPr>
      </p:pic>
      <p:sp>
        <p:nvSpPr>
          <p:cNvPr id="697" name="TextBox 696"/>
          <p:cNvSpPr txBox="1"/>
          <p:nvPr/>
        </p:nvSpPr>
        <p:spPr>
          <a:xfrm>
            <a:off x="4572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areem </a:t>
            </a:r>
            <a:br/>
            <a:r>
              <a:t>Ibrahem</a:t>
            </a:r>
            <a:br/>
            <a:r>
              <a:t>Senior</a:t>
            </a:r>
            <a:br/>
            <a:r>
              <a:t>IT Coordinator</a:t>
            </a:r>
          </a:p>
        </p:txBody>
      </p:sp>
      <p:sp>
        <p:nvSpPr>
          <p:cNvPr id="698" name="TextBox 697"/>
          <p:cNvSpPr txBox="1"/>
          <p:nvPr/>
        </p:nvSpPr>
        <p:spPr>
          <a:xfrm>
            <a:off x="4572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699" name="Picture 698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080" y="5577840"/>
            <a:ext cx="292608" cy="192505"/>
          </a:xfrm>
          <a:prstGeom prst="rect">
            <a:avLst/>
          </a:prstGeom>
        </p:spPr>
      </p:pic>
      <p:pic>
        <p:nvPicPr>
          <p:cNvPr id="700" name="Picture 699" descr="ipp_khaled_walid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71600" y="4297680"/>
            <a:ext cx="731520" cy="731520"/>
          </a:xfrm>
          <a:prstGeom prst="rect">
            <a:avLst/>
          </a:prstGeom>
        </p:spPr>
      </p:pic>
      <p:sp>
        <p:nvSpPr>
          <p:cNvPr id="701" name="TextBox 700"/>
          <p:cNvSpPr txBox="1"/>
          <p:nvPr/>
        </p:nvSpPr>
        <p:spPr>
          <a:xfrm>
            <a:off x="13716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haled </a:t>
            </a:r>
            <a:br/>
            <a:r>
              <a:t>Walid</a:t>
            </a:r>
            <a:br/>
            <a:r>
              <a:t>IT</a:t>
            </a:r>
            <a:br/>
            <a:r>
              <a:t>Representative</a:t>
            </a:r>
          </a:p>
        </p:txBody>
      </p:sp>
      <p:sp>
        <p:nvSpPr>
          <p:cNvPr id="702" name="TextBox 701"/>
          <p:cNvSpPr txBox="1"/>
          <p:nvPr/>
        </p:nvSpPr>
        <p:spPr>
          <a:xfrm>
            <a:off x="13716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03" name="Picture 702" descr="Egypt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4480" y="5577840"/>
            <a:ext cx="292608" cy="192505"/>
          </a:xfrm>
          <a:prstGeom prst="rect">
            <a:avLst/>
          </a:prstGeom>
        </p:spPr>
      </p:pic>
      <p:pic>
        <p:nvPicPr>
          <p:cNvPr id="704" name="Picture 703" descr="ipp_saul_guillermo_ramiro_tovar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86000" y="4297680"/>
            <a:ext cx="731520" cy="731520"/>
          </a:xfrm>
          <a:prstGeom prst="rect">
            <a:avLst/>
          </a:prstGeom>
        </p:spPr>
      </p:pic>
      <p:sp>
        <p:nvSpPr>
          <p:cNvPr id="705" name="TextBox 704"/>
          <p:cNvSpPr txBox="1"/>
          <p:nvPr/>
        </p:nvSpPr>
        <p:spPr>
          <a:xfrm>
            <a:off x="22860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Saul Guillermo </a:t>
            </a:r>
            <a:br/>
            <a:r>
              <a:t>Ramiro Tovar</a:t>
            </a:r>
            <a:br/>
            <a:r>
              <a:t>Senior</a:t>
            </a:r>
            <a:br/>
            <a:r>
              <a:t>IT Representative</a:t>
            </a:r>
          </a:p>
        </p:txBody>
      </p:sp>
      <p:sp>
        <p:nvSpPr>
          <p:cNvPr id="706" name="TextBox 705"/>
          <p:cNvSpPr txBox="1"/>
          <p:nvPr/>
        </p:nvSpPr>
        <p:spPr>
          <a:xfrm>
            <a:off x="22860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07" name="Picture 706" descr="Mexico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68880" y="5577840"/>
            <a:ext cx="292608" cy="192505"/>
          </a:xfrm>
          <a:prstGeom prst="rect">
            <a:avLst/>
          </a:prstGeom>
        </p:spPr>
      </p:pic>
      <p:pic>
        <p:nvPicPr>
          <p:cNvPr id="708" name="Picture 707" descr="ipp_aymane_jarmoune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00400" y="4297680"/>
            <a:ext cx="731520" cy="731520"/>
          </a:xfrm>
          <a:prstGeom prst="rect">
            <a:avLst/>
          </a:prstGeom>
        </p:spPr>
      </p:pic>
      <p:sp>
        <p:nvSpPr>
          <p:cNvPr id="709" name="TextBox 708"/>
          <p:cNvSpPr txBox="1"/>
          <p:nvPr/>
        </p:nvSpPr>
        <p:spPr>
          <a:xfrm>
            <a:off x="32004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Aymane </a:t>
            </a:r>
            <a:br/>
            <a:r>
              <a:t>Jarmoune</a:t>
            </a:r>
            <a:br/>
            <a:r>
              <a:t>IT</a:t>
            </a:r>
            <a:br/>
            <a:r>
              <a:t>Representative</a:t>
            </a:r>
          </a:p>
        </p:txBody>
      </p:sp>
      <p:sp>
        <p:nvSpPr>
          <p:cNvPr id="710" name="TextBox 709"/>
          <p:cNvSpPr txBox="1"/>
          <p:nvPr/>
        </p:nvSpPr>
        <p:spPr>
          <a:xfrm>
            <a:off x="32004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11" name="Picture 710" descr="image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83280" y="5577840"/>
            <a:ext cx="292608" cy="192505"/>
          </a:xfrm>
          <a:prstGeom prst="rect">
            <a:avLst/>
          </a:prstGeom>
        </p:spPr>
      </p:pic>
      <p:pic>
        <p:nvPicPr>
          <p:cNvPr id="712" name="Picture 711" descr="test_pic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114800" y="4297680"/>
            <a:ext cx="731520" cy="731520"/>
          </a:xfrm>
          <a:prstGeom prst="rect">
            <a:avLst/>
          </a:prstGeom>
        </p:spPr>
      </p:pic>
      <p:sp>
        <p:nvSpPr>
          <p:cNvPr id="713" name="TextBox 712"/>
          <p:cNvSpPr txBox="1"/>
          <p:nvPr/>
        </p:nvSpPr>
        <p:spPr>
          <a:xfrm>
            <a:off x="4114800" y="4785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Douae </a:t>
            </a:r>
            <a:br/>
            <a:r>
              <a:t>Lahrach</a:t>
            </a:r>
            <a:br/>
            <a:r>
              <a:t>IT</a:t>
            </a:r>
            <a:br/>
            <a:r>
              <a:t>Coordinator</a:t>
            </a:r>
          </a:p>
        </p:txBody>
      </p:sp>
      <p:sp>
        <p:nvSpPr>
          <p:cNvPr id="714" name="TextBox 713"/>
          <p:cNvSpPr txBox="1"/>
          <p:nvPr/>
        </p:nvSpPr>
        <p:spPr>
          <a:xfrm>
            <a:off x="4114800" y="4602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15" name="Picture 714" descr="image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97680" y="5577840"/>
            <a:ext cx="292608" cy="19250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48BA89-24F6-C1C3-4616-3B0A2E951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69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94" name="Google Shape;694;g121061837f4_0_1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95" name="Google Shape;695;g121061837f4_0_1"/>
          <p:cNvSpPr/>
          <p:nvPr/>
        </p:nvSpPr>
        <p:spPr>
          <a:xfrm>
            <a:off x="6959711" y="2761030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ing Infomineo’s Marketing Strate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6" name="Google Shape;696;g121061837f4_0_1"/>
          <p:cNvSpPr/>
          <p:nvPr/>
        </p:nvSpPr>
        <p:spPr>
          <a:xfrm>
            <a:off x="6959711" y="3279657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nitoring new content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7" name="Google Shape;697;g121061837f4_0_1"/>
          <p:cNvSpPr/>
          <p:nvPr/>
        </p:nvSpPr>
        <p:spPr>
          <a:xfrm>
            <a:off x="6959711" y="3707551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the development of marketing materi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8" name="Google Shape;698;g121061837f4_0_1"/>
          <p:cNvSpPr/>
          <p:nvPr/>
        </p:nvSpPr>
        <p:spPr>
          <a:xfrm>
            <a:off x="6959711" y="4412443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Infomineo’s web strate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9" name="Google Shape;699;g121061837f4_0_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arketing Team</a:t>
            </a:r>
            <a:endParaRPr dirty="0"/>
          </a:p>
        </p:txBody>
      </p:sp>
      <p:sp>
        <p:nvSpPr>
          <p:cNvPr id="700" name="Google Shape;700;g121061837f4_0_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fr-FR"/>
              <a:t>9</a:t>
            </a:fld>
            <a:endParaRPr/>
          </a:p>
        </p:txBody>
      </p:sp>
      <p:sp>
        <p:nvSpPr>
          <p:cNvPr id="701" name="Google Shape;701;g121061837f4_0_1"/>
          <p:cNvSpPr/>
          <p:nvPr/>
        </p:nvSpPr>
        <p:spPr>
          <a:xfrm>
            <a:off x="6959711" y="2056137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and improving lead generation campaig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2" name="Google Shape;702;g121061837f4_0_1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03" name="Google Shape;703;g121061837f4_0_1"/>
          <p:cNvSpPr/>
          <p:nvPr/>
        </p:nvSpPr>
        <p:spPr>
          <a:xfrm>
            <a:off x="8267793" y="1557549"/>
            <a:ext cx="17556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4" name="Google Shape;704;g121061837f4_0_1"/>
          <p:cNvSpPr/>
          <p:nvPr/>
        </p:nvSpPr>
        <p:spPr>
          <a:xfrm>
            <a:off x="2330476" y="1557549"/>
            <a:ext cx="14547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05" name="Google Shape;705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073034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06" name="Google Shape;706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801312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09" name="Google Shape;709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3301514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0" name="Google Shape;710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3735267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3" name="Google Shape;713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4446467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5" name="Google Shape;715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5031726"/>
            <a:ext cx="251881" cy="251881"/>
          </a:xfrm>
          <a:prstGeom prst="rect">
            <a:avLst/>
          </a:prstGeom>
          <a:noFill/>
          <a:ln>
            <a:noFill/>
          </a:ln>
        </p:spPr>
      </p:pic>
      <p:sp>
        <p:nvSpPr>
          <p:cNvPr id="716" name="Google Shape;716;g121061837f4_0_1"/>
          <p:cNvSpPr/>
          <p:nvPr/>
        </p:nvSpPr>
        <p:spPr>
          <a:xfrm>
            <a:off x="6959711" y="5006609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mineo’s sector and region content development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17" name="Picture 716" descr="ipp_kawtar_el_hamdi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2011680"/>
            <a:ext cx="731520" cy="731520"/>
          </a:xfrm>
          <a:prstGeom prst="rect">
            <a:avLst/>
          </a:prstGeom>
        </p:spPr>
      </p:pic>
      <p:sp>
        <p:nvSpPr>
          <p:cNvPr id="718" name="TextBox 717"/>
          <p:cNvSpPr txBox="1"/>
          <p:nvPr/>
        </p:nvSpPr>
        <p:spPr>
          <a:xfrm>
            <a:off x="4572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awtar </a:t>
            </a:r>
            <a:br/>
            <a:r>
              <a:t>El Hamdi</a:t>
            </a:r>
            <a:br/>
            <a:r>
              <a:t>Knowledge</a:t>
            </a:r>
            <a:br/>
            <a:r>
              <a:t>Management Specialist</a:t>
            </a:r>
          </a:p>
        </p:txBody>
      </p:sp>
      <p:sp>
        <p:nvSpPr>
          <p:cNvPr id="719" name="TextBox 718"/>
          <p:cNvSpPr txBox="1"/>
          <p:nvPr/>
        </p:nvSpPr>
        <p:spPr>
          <a:xfrm>
            <a:off x="4572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20" name="Picture 719" descr="imag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080" y="3291840"/>
            <a:ext cx="292608" cy="192505"/>
          </a:xfrm>
          <a:prstGeom prst="rect">
            <a:avLst/>
          </a:prstGeom>
        </p:spPr>
      </p:pic>
      <p:pic>
        <p:nvPicPr>
          <p:cNvPr id="721" name="Picture 720" descr="ipp_kenza_khaldan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2011680"/>
            <a:ext cx="731520" cy="731520"/>
          </a:xfrm>
          <a:prstGeom prst="rect">
            <a:avLst/>
          </a:prstGeom>
        </p:spPr>
      </p:pic>
      <p:sp>
        <p:nvSpPr>
          <p:cNvPr id="722" name="TextBox 721"/>
          <p:cNvSpPr txBox="1"/>
          <p:nvPr/>
        </p:nvSpPr>
        <p:spPr>
          <a:xfrm>
            <a:off x="13716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Kenza </a:t>
            </a:r>
            <a:br/>
            <a:r>
              <a:t>Khaldane</a:t>
            </a:r>
            <a:br/>
            <a:r>
              <a:t>Marketing</a:t>
            </a:r>
            <a:br/>
            <a:r>
              <a:t>Senior Manager</a:t>
            </a:r>
          </a:p>
        </p:txBody>
      </p:sp>
      <p:sp>
        <p:nvSpPr>
          <p:cNvPr id="723" name="TextBox 722"/>
          <p:cNvSpPr txBox="1"/>
          <p:nvPr/>
        </p:nvSpPr>
        <p:spPr>
          <a:xfrm>
            <a:off x="13716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24" name="Picture 723" descr="imag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4480" y="3291840"/>
            <a:ext cx="292608" cy="192505"/>
          </a:xfrm>
          <a:prstGeom prst="rect">
            <a:avLst/>
          </a:prstGeom>
        </p:spPr>
      </p:pic>
      <p:pic>
        <p:nvPicPr>
          <p:cNvPr id="725" name="Picture 724" descr="ipp_omar_laoudai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6000" y="2011680"/>
            <a:ext cx="731520" cy="731520"/>
          </a:xfrm>
          <a:prstGeom prst="rect">
            <a:avLst/>
          </a:prstGeom>
        </p:spPr>
      </p:pic>
      <p:sp>
        <p:nvSpPr>
          <p:cNvPr id="726" name="TextBox 725"/>
          <p:cNvSpPr txBox="1"/>
          <p:nvPr/>
        </p:nvSpPr>
        <p:spPr>
          <a:xfrm>
            <a:off x="22860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Omar </a:t>
            </a:r>
            <a:br/>
            <a:r>
              <a:t>Laoudai</a:t>
            </a:r>
            <a:br/>
            <a:r>
              <a:t>SEO</a:t>
            </a:r>
            <a:br/>
            <a:r>
              <a:t>Specialist Coordinator</a:t>
            </a:r>
          </a:p>
        </p:txBody>
      </p:sp>
      <p:sp>
        <p:nvSpPr>
          <p:cNvPr id="727" name="TextBox 726"/>
          <p:cNvSpPr txBox="1"/>
          <p:nvPr/>
        </p:nvSpPr>
        <p:spPr>
          <a:xfrm>
            <a:off x="22860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28" name="Picture 727" descr="imag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68880" y="3291840"/>
            <a:ext cx="292608" cy="192505"/>
          </a:xfrm>
          <a:prstGeom prst="rect">
            <a:avLst/>
          </a:prstGeom>
        </p:spPr>
      </p:pic>
      <p:pic>
        <p:nvPicPr>
          <p:cNvPr id="729" name="Picture 728" descr="ipp_zineb_el_khamlichi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0400" y="2011680"/>
            <a:ext cx="731520" cy="731520"/>
          </a:xfrm>
          <a:prstGeom prst="rect">
            <a:avLst/>
          </a:prstGeom>
        </p:spPr>
      </p:pic>
      <p:sp>
        <p:nvSpPr>
          <p:cNvPr id="730" name="TextBox 729"/>
          <p:cNvSpPr txBox="1"/>
          <p:nvPr/>
        </p:nvSpPr>
        <p:spPr>
          <a:xfrm>
            <a:off x="3200400" y="24993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Zineb El </a:t>
            </a:r>
            <a:br/>
            <a:r>
              <a:t>Khamlichi</a:t>
            </a:r>
            <a:br/>
            <a:r>
              <a:t>Marketing</a:t>
            </a:r>
            <a:br/>
            <a:r>
              <a:t>Representative</a:t>
            </a:r>
          </a:p>
        </p:txBody>
      </p:sp>
      <p:sp>
        <p:nvSpPr>
          <p:cNvPr id="731" name="TextBox 730"/>
          <p:cNvSpPr txBox="1"/>
          <p:nvPr/>
        </p:nvSpPr>
        <p:spPr>
          <a:xfrm>
            <a:off x="3200400" y="23164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32" name="Picture 731" descr="image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83280" y="3291840"/>
            <a:ext cx="292608" cy="192505"/>
          </a:xfrm>
          <a:prstGeom prst="rect">
            <a:avLst/>
          </a:prstGeom>
        </p:spPr>
      </p:pic>
      <p:pic>
        <p:nvPicPr>
          <p:cNvPr id="733" name="Picture 732" descr="test_pic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7200" y="3383280"/>
            <a:ext cx="731520" cy="731520"/>
          </a:xfrm>
          <a:prstGeom prst="rect">
            <a:avLst/>
          </a:prstGeom>
        </p:spPr>
      </p:pic>
      <p:sp>
        <p:nvSpPr>
          <p:cNvPr id="734" name="TextBox 733"/>
          <p:cNvSpPr txBox="1"/>
          <p:nvPr/>
        </p:nvSpPr>
        <p:spPr>
          <a:xfrm>
            <a:off x="457200" y="387096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>
              <a:defRPr sz="800"/>
            </a:pPr>
            <a:r>
              <a:t>Pietro </a:t>
            </a:r>
            <a:br/>
            <a:r>
              <a:t>Galvani</a:t>
            </a:r>
            <a:br/>
            <a:r>
              <a:t>Global</a:t>
            </a:r>
            <a:br/>
            <a:r>
              <a:t>Marketing Director</a:t>
            </a:r>
          </a:p>
        </p:txBody>
      </p:sp>
      <p:sp>
        <p:nvSpPr>
          <p:cNvPr id="735" name="TextBox 734"/>
          <p:cNvSpPr txBox="1"/>
          <p:nvPr/>
        </p:nvSpPr>
        <p:spPr>
          <a:xfrm>
            <a:off x="457200" y="3688080"/>
            <a:ext cx="36576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</p:txBody>
      </p:sp>
      <p:pic>
        <p:nvPicPr>
          <p:cNvPr id="736" name="Picture 735" descr="Spai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0080" y="4663440"/>
            <a:ext cx="292608" cy="19250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7</TotalTime>
  <Words>1066</Words>
  <Application>Microsoft Office PowerPoint</Application>
  <PresentationFormat>Widescreen</PresentationFormat>
  <Paragraphs>223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Gill Sans</vt:lpstr>
      <vt:lpstr>Calibri</vt:lpstr>
      <vt:lpstr>Libre Franklin</vt:lpstr>
      <vt:lpstr>Noto Sans</vt:lpstr>
      <vt:lpstr>Arial</vt:lpstr>
      <vt:lpstr>Franklin Gothic</vt:lpstr>
      <vt:lpstr>Office Theme</vt:lpstr>
      <vt:lpstr>think-cell Slide</vt:lpstr>
      <vt:lpstr>Who’s Who</vt:lpstr>
      <vt:lpstr>Infomineo Executive Committee</vt:lpstr>
      <vt:lpstr>PowerPoint Presentation</vt:lpstr>
      <vt:lpstr>Business Development Team</vt:lpstr>
      <vt:lpstr>Finance Team</vt:lpstr>
      <vt:lpstr>Human Capital</vt:lpstr>
      <vt:lpstr>Operations Team</vt:lpstr>
      <vt:lpstr>Information Technology Team</vt:lpstr>
      <vt:lpstr>Marketing Team</vt:lpstr>
      <vt:lpstr>Office Admin Team</vt:lpstr>
      <vt:lpstr>PowerPoint Presentation</vt:lpstr>
      <vt:lpstr>Business Research Leaders</vt:lpstr>
      <vt:lpstr>IKT Team Members</vt:lpstr>
      <vt:lpstr>IKT Team Members</vt:lpstr>
      <vt:lpstr>MCK Team Members</vt:lpstr>
      <vt:lpstr>MCK Team Members</vt:lpstr>
      <vt:lpstr>BCG Team Members</vt:lpstr>
      <vt:lpstr>BCG Team Members</vt:lpstr>
      <vt:lpstr>Business Translation Team</vt:lpstr>
      <vt:lpstr>Graphic Design Team</vt:lpstr>
      <vt:lpstr> Data Analytics Tea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o’s Who</dc:title>
  <dc:creator>Muhammad Fattouh</dc:creator>
  <cp:lastModifiedBy>Casa 3</cp:lastModifiedBy>
  <cp:revision>64</cp:revision>
  <dcterms:created xsi:type="dcterms:W3CDTF">2020-11-03T07:44:30Z</dcterms:created>
  <dcterms:modified xsi:type="dcterms:W3CDTF">2023-11-28T19:46:50Z</dcterms:modified>
</cp:coreProperties>
</file>